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261" r:id="rId2"/>
    <p:sldId id="262" r:id="rId3"/>
  </p:sldIdLst>
  <p:sldSz cx="6858000" cy="9906000" type="A4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3787"/>
    <a:srgbClr val="5DB0EE"/>
    <a:srgbClr val="EAF4FD"/>
    <a:srgbClr val="1F4CB9"/>
    <a:srgbClr val="D9EBFB"/>
    <a:srgbClr val="143667"/>
    <a:srgbClr val="EC5729"/>
    <a:srgbClr val="26399A"/>
    <a:srgbClr val="08296C"/>
    <a:srgbClr val="2233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7F6640-FA3F-483D-A25F-82A6BBAC422A}" v="13" dt="2023-03-28T14:54:12.69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780" autoAdjust="0"/>
    <p:restoredTop sz="94660"/>
  </p:normalViewPr>
  <p:slideViewPr>
    <p:cSldViewPr snapToGrid="0">
      <p:cViewPr>
        <p:scale>
          <a:sx n="100" d="100"/>
          <a:sy n="100" d="100"/>
        </p:scale>
        <p:origin x="3660" y="4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mya Muthukrishnan" userId="b537101c-71db-48f5-9a07-607ebb71d678" providerId="ADAL" clId="{1A7F6640-FA3F-483D-A25F-82A6BBAC422A}"/>
    <pc:docChg chg="undo custSel addSld delSld modSld">
      <pc:chgData name="Ramya Muthukrishnan" userId="b537101c-71db-48f5-9a07-607ebb71d678" providerId="ADAL" clId="{1A7F6640-FA3F-483D-A25F-82A6BBAC422A}" dt="2023-03-28T15:32:42.281" v="188" actId="207"/>
      <pc:docMkLst>
        <pc:docMk/>
      </pc:docMkLst>
      <pc:sldChg chg="add del">
        <pc:chgData name="Ramya Muthukrishnan" userId="b537101c-71db-48f5-9a07-607ebb71d678" providerId="ADAL" clId="{1A7F6640-FA3F-483D-A25F-82A6BBAC422A}" dt="2023-03-25T12:05:04.177" v="1"/>
        <pc:sldMkLst>
          <pc:docMk/>
          <pc:sldMk cId="1259657455" sldId="257"/>
        </pc:sldMkLst>
      </pc:sldChg>
      <pc:sldChg chg="addSp delSp modSp del mod">
        <pc:chgData name="Ramya Muthukrishnan" userId="b537101c-71db-48f5-9a07-607ebb71d678" providerId="ADAL" clId="{1A7F6640-FA3F-483D-A25F-82A6BBAC422A}" dt="2023-03-28T13:14:29.534" v="32" actId="47"/>
        <pc:sldMkLst>
          <pc:docMk/>
          <pc:sldMk cId="2710996851" sldId="259"/>
        </pc:sldMkLst>
        <pc:spChg chg="add del mod">
          <ac:chgData name="Ramya Muthukrishnan" userId="b537101c-71db-48f5-9a07-607ebb71d678" providerId="ADAL" clId="{1A7F6640-FA3F-483D-A25F-82A6BBAC422A}" dt="2023-03-25T12:08:42.801" v="27" actId="478"/>
          <ac:spMkLst>
            <pc:docMk/>
            <pc:sldMk cId="2710996851" sldId="259"/>
            <ac:spMk id="4" creationId="{E3DA2A1C-0CEE-6818-C50E-53099232D046}"/>
          </ac:spMkLst>
        </pc:spChg>
        <pc:spChg chg="mod">
          <ac:chgData name="Ramya Muthukrishnan" userId="b537101c-71db-48f5-9a07-607ebb71d678" providerId="ADAL" clId="{1A7F6640-FA3F-483D-A25F-82A6BBAC422A}" dt="2023-03-25T12:05:54.257" v="6" actId="207"/>
          <ac:spMkLst>
            <pc:docMk/>
            <pc:sldMk cId="2710996851" sldId="259"/>
            <ac:spMk id="6" creationId="{B64DC3DA-E51D-2896-AB2C-C494DAB078A8}"/>
          </ac:spMkLst>
        </pc:spChg>
        <pc:spChg chg="mod">
          <ac:chgData name="Ramya Muthukrishnan" userId="b537101c-71db-48f5-9a07-607ebb71d678" providerId="ADAL" clId="{1A7F6640-FA3F-483D-A25F-82A6BBAC422A}" dt="2023-03-25T12:08:38.390" v="26" actId="207"/>
          <ac:spMkLst>
            <pc:docMk/>
            <pc:sldMk cId="2710996851" sldId="259"/>
            <ac:spMk id="13" creationId="{C5AC7BBD-CC15-2896-4499-76C0A7CA88E2}"/>
          </ac:spMkLst>
        </pc:spChg>
        <pc:spChg chg="mod">
          <ac:chgData name="Ramya Muthukrishnan" userId="b537101c-71db-48f5-9a07-607ebb71d678" providerId="ADAL" clId="{1A7F6640-FA3F-483D-A25F-82A6BBAC422A}" dt="2023-03-25T12:05:30.294" v="4" actId="207"/>
          <ac:spMkLst>
            <pc:docMk/>
            <pc:sldMk cId="2710996851" sldId="259"/>
            <ac:spMk id="16" creationId="{93157BCB-B345-EA7D-6C20-EB991BC0EE14}"/>
          </ac:spMkLst>
        </pc:spChg>
        <pc:spChg chg="mod">
          <ac:chgData name="Ramya Muthukrishnan" userId="b537101c-71db-48f5-9a07-607ebb71d678" providerId="ADAL" clId="{1A7F6640-FA3F-483D-A25F-82A6BBAC422A}" dt="2023-03-25T12:08:38.390" v="26" actId="207"/>
          <ac:spMkLst>
            <pc:docMk/>
            <pc:sldMk cId="2710996851" sldId="259"/>
            <ac:spMk id="20" creationId="{1ED16EED-7A72-F9AB-645E-0909F76CF76C}"/>
          </ac:spMkLst>
        </pc:spChg>
        <pc:spChg chg="mod">
          <ac:chgData name="Ramya Muthukrishnan" userId="b537101c-71db-48f5-9a07-607ebb71d678" providerId="ADAL" clId="{1A7F6640-FA3F-483D-A25F-82A6BBAC422A}" dt="2023-03-25T12:06:34.112" v="10" actId="207"/>
          <ac:spMkLst>
            <pc:docMk/>
            <pc:sldMk cId="2710996851" sldId="259"/>
            <ac:spMk id="21" creationId="{5B7A675E-2A33-47CA-95AE-7F3A8F2E06C7}"/>
          </ac:spMkLst>
        </pc:spChg>
        <pc:spChg chg="mod">
          <ac:chgData name="Ramya Muthukrishnan" userId="b537101c-71db-48f5-9a07-607ebb71d678" providerId="ADAL" clId="{1A7F6640-FA3F-483D-A25F-82A6BBAC422A}" dt="2023-03-25T12:06:57.725" v="13" actId="208"/>
          <ac:spMkLst>
            <pc:docMk/>
            <pc:sldMk cId="2710996851" sldId="259"/>
            <ac:spMk id="23" creationId="{7463DD9C-E22A-45A4-A3D3-4AE15993E7ED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30" creationId="{74BE52A7-47D8-4C13-A15B-B68077B40513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34" creationId="{8FFE7836-0D3B-464F-8FA2-25F0E6B57CD0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38" creationId="{73746CD7-CF4A-44A9-86F9-43F29D323356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39" creationId="{4025EE3F-7443-4056-A303-0B27341E9ED0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40" creationId="{39C45184-379A-4F72-A34F-0FCA32CFBDB6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41" creationId="{9DEAABFC-5AD8-461F-B6FE-C6200DED80A1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42" creationId="{994C21BB-73E7-4EB5-B1AA-6F6EB3A402EA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43" creationId="{9198FA0B-D11A-4189-B63A-0E1763C3963C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44" creationId="{F6FA0913-EE9E-4452-BAF2-56BD12C1EA73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45" creationId="{0AA26C37-FFE1-4F1A-869B-C2CCA5AD18B3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46" creationId="{E3B7E441-503A-44C6-8527-8765466FBF94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47" creationId="{42F88EB8-6E26-448B-9BAE-6458075AC916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48" creationId="{87FE1DD6-8971-428A-A1D5-FD3F0BE6D61E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49" creationId="{7ED41A78-E2EB-40A0-87A3-58DBC1A25A53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50" creationId="{679D13CA-FE0B-4BCA-91B1-20DC782849CB}"/>
          </ac:spMkLst>
        </pc:spChg>
        <pc:spChg chg="mod">
          <ac:chgData name="Ramya Muthukrishnan" userId="b537101c-71db-48f5-9a07-607ebb71d678" providerId="ADAL" clId="{1A7F6640-FA3F-483D-A25F-82A6BBAC422A}" dt="2023-03-25T12:07:14.943" v="14" actId="207"/>
          <ac:spMkLst>
            <pc:docMk/>
            <pc:sldMk cId="2710996851" sldId="259"/>
            <ac:spMk id="51" creationId="{357CBBE8-A481-4A66-9463-11462B01958E}"/>
          </ac:spMkLst>
        </pc:spChg>
        <pc:spChg chg="mod">
          <ac:chgData name="Ramya Muthukrishnan" userId="b537101c-71db-48f5-9a07-607ebb71d678" providerId="ADAL" clId="{1A7F6640-FA3F-483D-A25F-82A6BBAC422A}" dt="2023-03-25T12:08:02.754" v="21" actId="207"/>
          <ac:spMkLst>
            <pc:docMk/>
            <pc:sldMk cId="2710996851" sldId="259"/>
            <ac:spMk id="106" creationId="{58A0DB50-F443-4D6E-807F-4445E3D6BF47}"/>
          </ac:spMkLst>
        </pc:spChg>
        <pc:spChg chg="mod">
          <ac:chgData name="Ramya Muthukrishnan" userId="b537101c-71db-48f5-9a07-607ebb71d678" providerId="ADAL" clId="{1A7F6640-FA3F-483D-A25F-82A6BBAC422A}" dt="2023-03-25T12:08:10.438" v="22" actId="692"/>
          <ac:spMkLst>
            <pc:docMk/>
            <pc:sldMk cId="2710996851" sldId="259"/>
            <ac:spMk id="107" creationId="{03340082-7332-4089-B21E-8E5C4C0CE358}"/>
          </ac:spMkLst>
        </pc:spChg>
        <pc:spChg chg="mod">
          <ac:chgData name="Ramya Muthukrishnan" userId="b537101c-71db-48f5-9a07-607ebb71d678" providerId="ADAL" clId="{1A7F6640-FA3F-483D-A25F-82A6BBAC422A}" dt="2023-03-25T12:06:34.112" v="10" actId="207"/>
          <ac:spMkLst>
            <pc:docMk/>
            <pc:sldMk cId="2710996851" sldId="259"/>
            <ac:spMk id="108" creationId="{42BF4B25-F6CF-4A8B-8BB8-2F57665D6F5D}"/>
          </ac:spMkLst>
        </pc:spChg>
        <pc:spChg chg="mod">
          <ac:chgData name="Ramya Muthukrishnan" userId="b537101c-71db-48f5-9a07-607ebb71d678" providerId="ADAL" clId="{1A7F6640-FA3F-483D-A25F-82A6BBAC422A}" dt="2023-03-25T12:06:57.725" v="13" actId="208"/>
          <ac:spMkLst>
            <pc:docMk/>
            <pc:sldMk cId="2710996851" sldId="259"/>
            <ac:spMk id="109" creationId="{360DABBC-171A-4E18-965C-1F8F61A5CDBF}"/>
          </ac:spMkLst>
        </pc:spChg>
        <pc:spChg chg="mod">
          <ac:chgData name="Ramya Muthukrishnan" userId="b537101c-71db-48f5-9a07-607ebb71d678" providerId="ADAL" clId="{1A7F6640-FA3F-483D-A25F-82A6BBAC422A}" dt="2023-03-25T12:08:02.754" v="21" actId="207"/>
          <ac:spMkLst>
            <pc:docMk/>
            <pc:sldMk cId="2710996851" sldId="259"/>
            <ac:spMk id="112" creationId="{69892ECC-2860-41AC-8F48-BD315CB0702D}"/>
          </ac:spMkLst>
        </pc:spChg>
        <pc:spChg chg="mod">
          <ac:chgData name="Ramya Muthukrishnan" userId="b537101c-71db-48f5-9a07-607ebb71d678" providerId="ADAL" clId="{1A7F6640-FA3F-483D-A25F-82A6BBAC422A}" dt="2023-03-25T12:08:10.438" v="22" actId="692"/>
          <ac:spMkLst>
            <pc:docMk/>
            <pc:sldMk cId="2710996851" sldId="259"/>
            <ac:spMk id="113" creationId="{1FCF6282-0808-4554-BA56-1877B269FAF3}"/>
          </ac:spMkLst>
        </pc:spChg>
        <pc:spChg chg="mod">
          <ac:chgData name="Ramya Muthukrishnan" userId="b537101c-71db-48f5-9a07-607ebb71d678" providerId="ADAL" clId="{1A7F6640-FA3F-483D-A25F-82A6BBAC422A}" dt="2023-03-25T12:06:34.112" v="10" actId="207"/>
          <ac:spMkLst>
            <pc:docMk/>
            <pc:sldMk cId="2710996851" sldId="259"/>
            <ac:spMk id="114" creationId="{F4C4D48C-C91F-4E2C-AAED-18E06B81C6DD}"/>
          </ac:spMkLst>
        </pc:spChg>
        <pc:spChg chg="mod">
          <ac:chgData name="Ramya Muthukrishnan" userId="b537101c-71db-48f5-9a07-607ebb71d678" providerId="ADAL" clId="{1A7F6640-FA3F-483D-A25F-82A6BBAC422A}" dt="2023-03-25T12:06:57.725" v="13" actId="208"/>
          <ac:spMkLst>
            <pc:docMk/>
            <pc:sldMk cId="2710996851" sldId="259"/>
            <ac:spMk id="115" creationId="{4E506E3B-A726-4CAB-BFD0-9F979AD4546D}"/>
          </ac:spMkLst>
        </pc:spChg>
        <pc:spChg chg="mod">
          <ac:chgData name="Ramya Muthukrishnan" userId="b537101c-71db-48f5-9a07-607ebb71d678" providerId="ADAL" clId="{1A7F6640-FA3F-483D-A25F-82A6BBAC422A}" dt="2023-03-25T12:08:02.754" v="21" actId="207"/>
          <ac:spMkLst>
            <pc:docMk/>
            <pc:sldMk cId="2710996851" sldId="259"/>
            <ac:spMk id="117" creationId="{9769640F-262D-46C2-B4A5-2E382CB172D6}"/>
          </ac:spMkLst>
        </pc:spChg>
        <pc:spChg chg="mod">
          <ac:chgData name="Ramya Muthukrishnan" userId="b537101c-71db-48f5-9a07-607ebb71d678" providerId="ADAL" clId="{1A7F6640-FA3F-483D-A25F-82A6BBAC422A}" dt="2023-03-25T12:08:10.438" v="22" actId="692"/>
          <ac:spMkLst>
            <pc:docMk/>
            <pc:sldMk cId="2710996851" sldId="259"/>
            <ac:spMk id="118" creationId="{8AF8F117-6D0B-4EFC-A88B-4EBC7B49ACF6}"/>
          </ac:spMkLst>
        </pc:spChg>
        <pc:spChg chg="mod">
          <ac:chgData name="Ramya Muthukrishnan" userId="b537101c-71db-48f5-9a07-607ebb71d678" providerId="ADAL" clId="{1A7F6640-FA3F-483D-A25F-82A6BBAC422A}" dt="2023-03-25T12:06:34.112" v="10" actId="207"/>
          <ac:spMkLst>
            <pc:docMk/>
            <pc:sldMk cId="2710996851" sldId="259"/>
            <ac:spMk id="119" creationId="{4D2D00A0-0D09-4C57-A20A-4A6EB2D504FA}"/>
          </ac:spMkLst>
        </pc:spChg>
        <pc:spChg chg="mod">
          <ac:chgData name="Ramya Muthukrishnan" userId="b537101c-71db-48f5-9a07-607ebb71d678" providerId="ADAL" clId="{1A7F6640-FA3F-483D-A25F-82A6BBAC422A}" dt="2023-03-25T12:06:57.725" v="13" actId="208"/>
          <ac:spMkLst>
            <pc:docMk/>
            <pc:sldMk cId="2710996851" sldId="259"/>
            <ac:spMk id="120" creationId="{92F27D91-58BE-43CC-9D35-59C1C6905C5D}"/>
          </ac:spMkLst>
        </pc:spChg>
        <pc:spChg chg="mod topLvl">
          <ac:chgData name="Ramya Muthukrishnan" userId="b537101c-71db-48f5-9a07-607ebb71d678" providerId="ADAL" clId="{1A7F6640-FA3F-483D-A25F-82A6BBAC422A}" dt="2023-03-25T12:07:42.373" v="17" actId="165"/>
          <ac:spMkLst>
            <pc:docMk/>
            <pc:sldMk cId="2710996851" sldId="259"/>
            <ac:spMk id="1025" creationId="{4601C918-E17A-235F-B583-1A0E932AEAFE}"/>
          </ac:spMkLst>
        </pc:spChg>
        <pc:spChg chg="mod">
          <ac:chgData name="Ramya Muthukrishnan" userId="b537101c-71db-48f5-9a07-607ebb71d678" providerId="ADAL" clId="{1A7F6640-FA3F-483D-A25F-82A6BBAC422A}" dt="2023-03-25T12:06:44.632" v="11" actId="207"/>
          <ac:spMkLst>
            <pc:docMk/>
            <pc:sldMk cId="2710996851" sldId="259"/>
            <ac:spMk id="1045" creationId="{EA3B5DFC-7874-CC09-922E-062999CC769F}"/>
          </ac:spMkLst>
        </pc:spChg>
        <pc:spChg chg="mod">
          <ac:chgData name="Ramya Muthukrishnan" userId="b537101c-71db-48f5-9a07-607ebb71d678" providerId="ADAL" clId="{1A7F6640-FA3F-483D-A25F-82A6BBAC422A}" dt="2023-03-25T12:08:45.496" v="28" actId="207"/>
          <ac:spMkLst>
            <pc:docMk/>
            <pc:sldMk cId="2710996851" sldId="259"/>
            <ac:spMk id="1060" creationId="{4DC2E5B9-3F04-2D69-9777-3D52BACC8391}"/>
          </ac:spMkLst>
        </pc:spChg>
        <pc:spChg chg="mod">
          <ac:chgData name="Ramya Muthukrishnan" userId="b537101c-71db-48f5-9a07-607ebb71d678" providerId="ADAL" clId="{1A7F6640-FA3F-483D-A25F-82A6BBAC422A}" dt="2023-03-25T12:06:44.632" v="11" actId="207"/>
          <ac:spMkLst>
            <pc:docMk/>
            <pc:sldMk cId="2710996851" sldId="259"/>
            <ac:spMk id="1126" creationId="{2EF11FC0-FE6B-4035-A9DD-EC2B3EC445A5}"/>
          </ac:spMkLst>
        </pc:spChg>
        <pc:spChg chg="mod">
          <ac:chgData name="Ramya Muthukrishnan" userId="b537101c-71db-48f5-9a07-607ebb71d678" providerId="ADAL" clId="{1A7F6640-FA3F-483D-A25F-82A6BBAC422A}" dt="2023-03-25T12:06:44.632" v="11" actId="207"/>
          <ac:spMkLst>
            <pc:docMk/>
            <pc:sldMk cId="2710996851" sldId="259"/>
            <ac:spMk id="1275" creationId="{FA45ACFE-34E2-45C1-553F-DEA949E6F3CB}"/>
          </ac:spMkLst>
        </pc:spChg>
        <pc:spChg chg="mod">
          <ac:chgData name="Ramya Muthukrishnan" userId="b537101c-71db-48f5-9a07-607ebb71d678" providerId="ADAL" clId="{1A7F6640-FA3F-483D-A25F-82A6BBAC422A}" dt="2023-03-25T12:06:44.632" v="11" actId="207"/>
          <ac:spMkLst>
            <pc:docMk/>
            <pc:sldMk cId="2710996851" sldId="259"/>
            <ac:spMk id="1276" creationId="{9D79528F-527F-5AC6-7833-2C157F02427D}"/>
          </ac:spMkLst>
        </pc:spChg>
        <pc:spChg chg="mod">
          <ac:chgData name="Ramya Muthukrishnan" userId="b537101c-71db-48f5-9a07-607ebb71d678" providerId="ADAL" clId="{1A7F6640-FA3F-483D-A25F-82A6BBAC422A}" dt="2023-03-25T12:06:44.632" v="11" actId="207"/>
          <ac:spMkLst>
            <pc:docMk/>
            <pc:sldMk cId="2710996851" sldId="259"/>
            <ac:spMk id="1277" creationId="{8E58E04A-C79A-15AA-5FBB-A129864E285B}"/>
          </ac:spMkLst>
        </pc:spChg>
        <pc:spChg chg="mod">
          <ac:chgData name="Ramya Muthukrishnan" userId="b537101c-71db-48f5-9a07-607ebb71d678" providerId="ADAL" clId="{1A7F6640-FA3F-483D-A25F-82A6BBAC422A}" dt="2023-03-25T12:06:44.632" v="11" actId="207"/>
          <ac:spMkLst>
            <pc:docMk/>
            <pc:sldMk cId="2710996851" sldId="259"/>
            <ac:spMk id="1278" creationId="{1860253F-4D6B-E131-6E28-62C3B7D699A7}"/>
          </ac:spMkLst>
        </pc:spChg>
        <pc:spChg chg="mod">
          <ac:chgData name="Ramya Muthukrishnan" userId="b537101c-71db-48f5-9a07-607ebb71d678" providerId="ADAL" clId="{1A7F6640-FA3F-483D-A25F-82A6BBAC422A}" dt="2023-03-25T12:06:44.632" v="11" actId="207"/>
          <ac:spMkLst>
            <pc:docMk/>
            <pc:sldMk cId="2710996851" sldId="259"/>
            <ac:spMk id="1279" creationId="{95D1EAA3-F6EF-4E1C-FF8C-492C54DB43EA}"/>
          </ac:spMkLst>
        </pc:spChg>
        <pc:spChg chg="mod">
          <ac:chgData name="Ramya Muthukrishnan" userId="b537101c-71db-48f5-9a07-607ebb71d678" providerId="ADAL" clId="{1A7F6640-FA3F-483D-A25F-82A6BBAC422A}" dt="2023-03-25T12:06:44.632" v="11" actId="207"/>
          <ac:spMkLst>
            <pc:docMk/>
            <pc:sldMk cId="2710996851" sldId="259"/>
            <ac:spMk id="1280" creationId="{97781BDC-9214-959B-CB3A-D5923FD1F894}"/>
          </ac:spMkLst>
        </pc:spChg>
        <pc:spChg chg="mod">
          <ac:chgData name="Ramya Muthukrishnan" userId="b537101c-71db-48f5-9a07-607ebb71d678" providerId="ADAL" clId="{1A7F6640-FA3F-483D-A25F-82A6BBAC422A}" dt="2023-03-25T12:06:44.632" v="11" actId="207"/>
          <ac:spMkLst>
            <pc:docMk/>
            <pc:sldMk cId="2710996851" sldId="259"/>
            <ac:spMk id="1306" creationId="{4F0BBC05-5C49-6F62-1EF4-E7E90E106832}"/>
          </ac:spMkLst>
        </pc:spChg>
        <pc:spChg chg="mod topLvl">
          <ac:chgData name="Ramya Muthukrishnan" userId="b537101c-71db-48f5-9a07-607ebb71d678" providerId="ADAL" clId="{1A7F6640-FA3F-483D-A25F-82A6BBAC422A}" dt="2023-03-25T12:07:46.614" v="18" actId="207"/>
          <ac:spMkLst>
            <pc:docMk/>
            <pc:sldMk cId="2710996851" sldId="259"/>
            <ac:spMk id="1348" creationId="{975AC3BC-21C9-A403-740D-170D2316A7AE}"/>
          </ac:spMkLst>
        </pc:spChg>
        <pc:grpChg chg="del">
          <ac:chgData name="Ramya Muthukrishnan" userId="b537101c-71db-48f5-9a07-607ebb71d678" providerId="ADAL" clId="{1A7F6640-FA3F-483D-A25F-82A6BBAC422A}" dt="2023-03-25T12:07:42.373" v="17" actId="165"/>
          <ac:grpSpMkLst>
            <pc:docMk/>
            <pc:sldMk cId="2710996851" sldId="259"/>
            <ac:grpSpMk id="29" creationId="{74846BE3-EB50-9CF1-DB70-D3212216FA06}"/>
          </ac:grpSpMkLst>
        </pc:grpChg>
        <pc:grpChg chg="mod">
          <ac:chgData name="Ramya Muthukrishnan" userId="b537101c-71db-48f5-9a07-607ebb71d678" providerId="ADAL" clId="{1A7F6640-FA3F-483D-A25F-82A6BBAC422A}" dt="2023-03-25T12:07:14.943" v="14" actId="207"/>
          <ac:grpSpMkLst>
            <pc:docMk/>
            <pc:sldMk cId="2710996851" sldId="259"/>
            <ac:grpSpMk id="52" creationId="{9309AE80-8569-48CF-A9F6-8A1ED31394D5}"/>
          </ac:grpSpMkLst>
        </pc:grpChg>
        <pc:grpChg chg="mod">
          <ac:chgData name="Ramya Muthukrishnan" userId="b537101c-71db-48f5-9a07-607ebb71d678" providerId="ADAL" clId="{1A7F6640-FA3F-483D-A25F-82A6BBAC422A}" dt="2023-03-25T12:06:44.632" v="11" actId="207"/>
          <ac:grpSpMkLst>
            <pc:docMk/>
            <pc:sldMk cId="2710996851" sldId="259"/>
            <ac:grpSpMk id="1302" creationId="{CF788E81-A88B-5E20-0FFF-68682D627CE1}"/>
          </ac:grpSpMkLst>
        </pc:grpChg>
        <pc:picChg chg="add del mod">
          <ac:chgData name="Ramya Muthukrishnan" userId="b537101c-71db-48f5-9a07-607ebb71d678" providerId="ADAL" clId="{1A7F6640-FA3F-483D-A25F-82A6BBAC422A}" dt="2023-03-25T12:08:13.093" v="23" actId="478"/>
          <ac:picMkLst>
            <pc:docMk/>
            <pc:sldMk cId="2710996851" sldId="259"/>
            <ac:picMk id="3" creationId="{D4E9D74F-C4F9-2558-124F-F4CCECC1D316}"/>
          </ac:picMkLst>
        </pc:picChg>
      </pc:sldChg>
      <pc:sldChg chg="addSp delSp modSp add del mod setBg">
        <pc:chgData name="Ramya Muthukrishnan" userId="b537101c-71db-48f5-9a07-607ebb71d678" providerId="ADAL" clId="{1A7F6640-FA3F-483D-A25F-82A6BBAC422A}" dt="2023-03-28T15:26:07.759" v="164" actId="47"/>
        <pc:sldMkLst>
          <pc:docMk/>
          <pc:sldMk cId="2802032895" sldId="260"/>
        </pc:sldMkLst>
        <pc:spChg chg="add mod">
          <ac:chgData name="Ramya Muthukrishnan" userId="b537101c-71db-48f5-9a07-607ebb71d678" providerId="ADAL" clId="{1A7F6640-FA3F-483D-A25F-82A6BBAC422A}" dt="2023-03-28T14:50:10.646" v="66" actId="207"/>
          <ac:spMkLst>
            <pc:docMk/>
            <pc:sldMk cId="2802032895" sldId="260"/>
            <ac:spMk id="2" creationId="{7F0EA6A4-7C35-B573-813D-DD2A8899C3F5}"/>
          </ac:spMkLst>
        </pc:spChg>
        <pc:spChg chg="add del mod">
          <ac:chgData name="Ramya Muthukrishnan" userId="b537101c-71db-48f5-9a07-607ebb71d678" providerId="ADAL" clId="{1A7F6640-FA3F-483D-A25F-82A6BBAC422A}" dt="2023-03-28T14:50:32.974" v="75" actId="478"/>
          <ac:spMkLst>
            <pc:docMk/>
            <pc:sldMk cId="2802032895" sldId="260"/>
            <ac:spMk id="3" creationId="{16B512FB-5248-E2D1-E9B0-9B7862B8A70C}"/>
          </ac:spMkLst>
        </pc:spChg>
        <pc:spChg chg="del">
          <ac:chgData name="Ramya Muthukrishnan" userId="b537101c-71db-48f5-9a07-607ebb71d678" providerId="ADAL" clId="{1A7F6640-FA3F-483D-A25F-82A6BBAC422A}" dt="2023-03-28T13:15:39.987" v="36" actId="478"/>
          <ac:spMkLst>
            <pc:docMk/>
            <pc:sldMk cId="2802032895" sldId="260"/>
            <ac:spMk id="6" creationId="{B64DC3DA-E51D-2896-AB2C-C494DAB078A8}"/>
          </ac:spMkLst>
        </pc:spChg>
        <pc:spChg chg="mod ord">
          <ac:chgData name="Ramya Muthukrishnan" userId="b537101c-71db-48f5-9a07-607ebb71d678" providerId="ADAL" clId="{1A7F6640-FA3F-483D-A25F-82A6BBAC422A}" dt="2023-03-28T14:50:17.753" v="68" actId="207"/>
          <ac:spMkLst>
            <pc:docMk/>
            <pc:sldMk cId="2802032895" sldId="260"/>
            <ac:spMk id="13" creationId="{C5AC7BBD-CC15-2896-4499-76C0A7CA88E2}"/>
          </ac:spMkLst>
        </pc:spChg>
        <pc:spChg chg="mod">
          <ac:chgData name="Ramya Muthukrishnan" userId="b537101c-71db-48f5-9a07-607ebb71d678" providerId="ADAL" clId="{1A7F6640-FA3F-483D-A25F-82A6BBAC422A}" dt="2023-03-28T14:50:26.159" v="72" actId="1076"/>
          <ac:spMkLst>
            <pc:docMk/>
            <pc:sldMk cId="2802032895" sldId="260"/>
            <ac:spMk id="14" creationId="{7C3377D2-1788-A656-D015-3FF3C00B8977}"/>
          </ac:spMkLst>
        </pc:spChg>
        <pc:spChg chg="del">
          <ac:chgData name="Ramya Muthukrishnan" userId="b537101c-71db-48f5-9a07-607ebb71d678" providerId="ADAL" clId="{1A7F6640-FA3F-483D-A25F-82A6BBAC422A}" dt="2023-03-28T13:15:37.998" v="35" actId="478"/>
          <ac:spMkLst>
            <pc:docMk/>
            <pc:sldMk cId="2802032895" sldId="260"/>
            <ac:spMk id="16" creationId="{93157BCB-B345-EA7D-6C20-EB991BC0EE14}"/>
          </ac:spMkLst>
        </pc:spChg>
        <pc:spChg chg="mod">
          <ac:chgData name="Ramya Muthukrishnan" userId="b537101c-71db-48f5-9a07-607ebb71d678" providerId="ADAL" clId="{1A7F6640-FA3F-483D-A25F-82A6BBAC422A}" dt="2023-03-28T14:51:27.136" v="83" actId="14100"/>
          <ac:spMkLst>
            <pc:docMk/>
            <pc:sldMk cId="2802032895" sldId="260"/>
            <ac:spMk id="18" creationId="{1120781B-B58A-5401-3511-2DA27D9372E3}"/>
          </ac:spMkLst>
        </pc:spChg>
        <pc:spChg chg="mod">
          <ac:chgData name="Ramya Muthukrishnan" userId="b537101c-71db-48f5-9a07-607ebb71d678" providerId="ADAL" clId="{1A7F6640-FA3F-483D-A25F-82A6BBAC422A}" dt="2023-03-28T14:51:27.136" v="83" actId="14100"/>
          <ac:spMkLst>
            <pc:docMk/>
            <pc:sldMk cId="2802032895" sldId="260"/>
            <ac:spMk id="19" creationId="{70A28387-F033-9920-2E77-218B6C9B8EF7}"/>
          </ac:spMkLst>
        </pc:spChg>
        <pc:spChg chg="mod">
          <ac:chgData name="Ramya Muthukrishnan" userId="b537101c-71db-48f5-9a07-607ebb71d678" providerId="ADAL" clId="{1A7F6640-FA3F-483D-A25F-82A6BBAC422A}" dt="2023-03-28T14:49:17.230" v="54" actId="1076"/>
          <ac:spMkLst>
            <pc:docMk/>
            <pc:sldMk cId="2802032895" sldId="260"/>
            <ac:spMk id="20" creationId="{1ED16EED-7A72-F9AB-645E-0909F76CF76C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21" creationId="{5B7A675E-2A33-47CA-95AE-7F3A8F2E06C7}"/>
          </ac:spMkLst>
        </pc:spChg>
        <pc:spChg chg="mod">
          <ac:chgData name="Ramya Muthukrishnan" userId="b537101c-71db-48f5-9a07-607ebb71d678" providerId="ADAL" clId="{1A7F6640-FA3F-483D-A25F-82A6BBAC422A}" dt="2023-03-28T14:51:50.894" v="85" actId="692"/>
          <ac:spMkLst>
            <pc:docMk/>
            <pc:sldMk cId="2802032895" sldId="260"/>
            <ac:spMk id="23" creationId="{7463DD9C-E22A-45A4-A3D3-4AE15993E7ED}"/>
          </ac:spMkLst>
        </pc:spChg>
        <pc:spChg chg="del mod">
          <ac:chgData name="Ramya Muthukrishnan" userId="b537101c-71db-48f5-9a07-607ebb71d678" providerId="ADAL" clId="{1A7F6640-FA3F-483D-A25F-82A6BBAC422A}" dt="2023-03-28T13:14:27.281" v="31" actId="478"/>
          <ac:spMkLst>
            <pc:docMk/>
            <pc:sldMk cId="2802032895" sldId="260"/>
            <ac:spMk id="25" creationId="{F37CC2BB-841B-6154-8790-36DDE5AD59D0}"/>
          </ac:spMkLst>
        </pc:spChg>
        <pc:spChg chg="mod">
          <ac:chgData name="Ramya Muthukrishnan" userId="b537101c-71db-48f5-9a07-607ebb71d678" providerId="ADAL" clId="{1A7F6640-FA3F-483D-A25F-82A6BBAC422A}" dt="2023-03-28T14:50:26.159" v="72" actId="1076"/>
          <ac:spMkLst>
            <pc:docMk/>
            <pc:sldMk cId="2802032895" sldId="260"/>
            <ac:spMk id="30" creationId="{74BE52A7-47D8-4C13-A15B-B68077B40513}"/>
          </ac:spMkLst>
        </pc:spChg>
        <pc:spChg chg="mod">
          <ac:chgData name="Ramya Muthukrishnan" userId="b537101c-71db-48f5-9a07-607ebb71d678" providerId="ADAL" clId="{1A7F6640-FA3F-483D-A25F-82A6BBAC422A}" dt="2023-03-28T14:48:31.134" v="38" actId="552"/>
          <ac:spMkLst>
            <pc:docMk/>
            <pc:sldMk cId="2802032895" sldId="260"/>
            <ac:spMk id="34" creationId="{8FFE7836-0D3B-464F-8FA2-25F0E6B57CD0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6" creationId="{58A0DB50-F443-4D6E-807F-4445E3D6BF47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7" creationId="{03340082-7332-4089-B21E-8E5C4C0CE358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8" creationId="{42BF4B25-F6CF-4A8B-8BB8-2F57665D6F5D}"/>
          </ac:spMkLst>
        </pc:spChg>
        <pc:spChg chg="mod">
          <ac:chgData name="Ramya Muthukrishnan" userId="b537101c-71db-48f5-9a07-607ebb71d678" providerId="ADAL" clId="{1A7F6640-FA3F-483D-A25F-82A6BBAC422A}" dt="2023-03-28T14:51:50.894" v="85" actId="692"/>
          <ac:spMkLst>
            <pc:docMk/>
            <pc:sldMk cId="2802032895" sldId="260"/>
            <ac:spMk id="109" creationId="{360DABBC-171A-4E18-965C-1F8F61A5CDBF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12" creationId="{69892ECC-2860-41AC-8F48-BD315CB0702D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13" creationId="{1FCF6282-0808-4554-BA56-1877B269FAF3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14" creationId="{F4C4D48C-C91F-4E2C-AAED-18E06B81C6DD}"/>
          </ac:spMkLst>
        </pc:spChg>
        <pc:spChg chg="mod">
          <ac:chgData name="Ramya Muthukrishnan" userId="b537101c-71db-48f5-9a07-607ebb71d678" providerId="ADAL" clId="{1A7F6640-FA3F-483D-A25F-82A6BBAC422A}" dt="2023-03-28T14:51:50.894" v="85" actId="692"/>
          <ac:spMkLst>
            <pc:docMk/>
            <pc:sldMk cId="2802032895" sldId="260"/>
            <ac:spMk id="115" creationId="{4E506E3B-A726-4CAB-BFD0-9F979AD4546D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17" creationId="{9769640F-262D-46C2-B4A5-2E382CB172D6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18" creationId="{8AF8F117-6D0B-4EFC-A88B-4EBC7B49ACF6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19" creationId="{4D2D00A0-0D09-4C57-A20A-4A6EB2D504FA}"/>
          </ac:spMkLst>
        </pc:spChg>
        <pc:spChg chg="mod">
          <ac:chgData name="Ramya Muthukrishnan" userId="b537101c-71db-48f5-9a07-607ebb71d678" providerId="ADAL" clId="{1A7F6640-FA3F-483D-A25F-82A6BBAC422A}" dt="2023-03-28T14:51:50.894" v="85" actId="692"/>
          <ac:spMkLst>
            <pc:docMk/>
            <pc:sldMk cId="2802032895" sldId="260"/>
            <ac:spMk id="120" creationId="{92F27D91-58BE-43CC-9D35-59C1C6905C5D}"/>
          </ac:spMkLst>
        </pc:spChg>
        <pc:spChg chg="del">
          <ac:chgData name="Ramya Muthukrishnan" userId="b537101c-71db-48f5-9a07-607ebb71d678" providerId="ADAL" clId="{1A7F6640-FA3F-483D-A25F-82A6BBAC422A}" dt="2023-03-28T13:15:35.291" v="33" actId="478"/>
          <ac:spMkLst>
            <pc:docMk/>
            <pc:sldMk cId="2802032895" sldId="260"/>
            <ac:spMk id="1025" creationId="{4601C918-E17A-235F-B583-1A0E932AEAFE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27" creationId="{D70A7A42-CECC-172C-4AE4-B9A6BE152CCF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32" creationId="{0A0048D4-CA69-50FC-1208-A19D86007663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33" creationId="{53943BD7-4211-9CB7-747A-F1595685D81C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36" creationId="{1DD87450-F866-9309-2A79-C10422243A69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37" creationId="{F3BED6E3-D2E3-836B-D952-D244D6808F5B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38" creationId="{9460AD8C-96B9-74AC-FCBF-9A576187ABE9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39" creationId="{A52B46C9-7915-32A6-52FD-F9D9F03A5636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45" creationId="{EA3B5DFC-7874-CC09-922E-062999CC769F}"/>
          </ac:spMkLst>
        </pc:spChg>
        <pc:spChg chg="mod">
          <ac:chgData name="Ramya Muthukrishnan" userId="b537101c-71db-48f5-9a07-607ebb71d678" providerId="ADAL" clId="{1A7F6640-FA3F-483D-A25F-82A6BBAC422A}" dt="2023-03-28T14:50:36.151" v="76" actId="1076"/>
          <ac:spMkLst>
            <pc:docMk/>
            <pc:sldMk cId="2802032895" sldId="260"/>
            <ac:spMk id="1060" creationId="{4DC2E5B9-3F04-2D69-9777-3D52BACC8391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088" creationId="{9853C27A-3E73-776A-0CCE-5501F4B412A6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126" creationId="{2EF11FC0-FE6B-4035-A9DD-EC2B3EC445A5}"/>
          </ac:spMkLst>
        </pc:spChg>
        <pc:spChg chg="mod">
          <ac:chgData name="Ramya Muthukrishnan" userId="b537101c-71db-48f5-9a07-607ebb71d678" providerId="ADAL" clId="{1A7F6640-FA3F-483D-A25F-82A6BBAC422A}" dt="2023-03-28T14:49:21.112" v="55" actId="1076"/>
          <ac:spMkLst>
            <pc:docMk/>
            <pc:sldMk cId="2802032895" sldId="260"/>
            <ac:spMk id="1306" creationId="{4F0BBC05-5C49-6F62-1EF4-E7E90E106832}"/>
          </ac:spMkLst>
        </pc:spChg>
        <pc:spChg chg="del">
          <ac:chgData name="Ramya Muthukrishnan" userId="b537101c-71db-48f5-9a07-607ebb71d678" providerId="ADAL" clId="{1A7F6640-FA3F-483D-A25F-82A6BBAC422A}" dt="2023-03-28T13:15:35.739" v="34" actId="478"/>
          <ac:spMkLst>
            <pc:docMk/>
            <pc:sldMk cId="2802032895" sldId="260"/>
            <ac:spMk id="1348" creationId="{975AC3BC-21C9-A403-740D-170D2316A7AE}"/>
          </ac:spMkLst>
        </pc:spChg>
        <pc:grpChg chg="mod">
          <ac:chgData name="Ramya Muthukrishnan" userId="b537101c-71db-48f5-9a07-607ebb71d678" providerId="ADAL" clId="{1A7F6640-FA3F-483D-A25F-82A6BBAC422A}" dt="2023-03-28T14:48:31.134" v="38" actId="552"/>
          <ac:grpSpMkLst>
            <pc:docMk/>
            <pc:sldMk cId="2802032895" sldId="260"/>
            <ac:grpSpMk id="52" creationId="{9309AE80-8569-48CF-A9F6-8A1ED31394D5}"/>
          </ac:grpSpMkLst>
        </pc:grpChg>
        <pc:grpChg chg="mod">
          <ac:chgData name="Ramya Muthukrishnan" userId="b537101c-71db-48f5-9a07-607ebb71d678" providerId="ADAL" clId="{1A7F6640-FA3F-483D-A25F-82A6BBAC422A}" dt="2023-03-28T14:49:21.112" v="55" actId="1076"/>
          <ac:grpSpMkLst>
            <pc:docMk/>
            <pc:sldMk cId="2802032895" sldId="260"/>
            <ac:grpSpMk id="1215" creationId="{24DF3866-5F11-0843-C356-F40D8FD3C08F}"/>
          </ac:grpSpMkLst>
        </pc:grpChg>
        <pc:grpChg chg="mod">
          <ac:chgData name="Ramya Muthukrishnan" userId="b537101c-71db-48f5-9a07-607ebb71d678" providerId="ADAL" clId="{1A7F6640-FA3F-483D-A25F-82A6BBAC422A}" dt="2023-03-28T14:49:21.112" v="55" actId="1076"/>
          <ac:grpSpMkLst>
            <pc:docMk/>
            <pc:sldMk cId="2802032895" sldId="260"/>
            <ac:grpSpMk id="1271" creationId="{316411F0-4DAC-FD8A-AB20-83EED5821C40}"/>
          </ac:grpSpMkLst>
        </pc:grpChg>
        <pc:grpChg chg="mod">
          <ac:chgData name="Ramya Muthukrishnan" userId="b537101c-71db-48f5-9a07-607ebb71d678" providerId="ADAL" clId="{1A7F6640-FA3F-483D-A25F-82A6BBAC422A}" dt="2023-03-28T14:49:21.112" v="55" actId="1076"/>
          <ac:grpSpMkLst>
            <pc:docMk/>
            <pc:sldMk cId="2802032895" sldId="260"/>
            <ac:grpSpMk id="1302" creationId="{CF788E81-A88B-5E20-0FFF-68682D627CE1}"/>
          </ac:grpSpMkLst>
        </pc:grpChg>
        <pc:picChg chg="add mod">
          <ac:chgData name="Ramya Muthukrishnan" userId="b537101c-71db-48f5-9a07-607ebb71d678" providerId="ADAL" clId="{1A7F6640-FA3F-483D-A25F-82A6BBAC422A}" dt="2023-03-28T15:25:31.140" v="149" actId="1076"/>
          <ac:picMkLst>
            <pc:docMk/>
            <pc:sldMk cId="2802032895" sldId="260"/>
            <ac:picMk id="10" creationId="{FB1AA739-9AA2-1FD1-9D97-815A79D8A1BA}"/>
          </ac:picMkLst>
        </pc:picChg>
        <pc:picChg chg="del mod">
          <ac:chgData name="Ramya Muthukrishnan" userId="b537101c-71db-48f5-9a07-607ebb71d678" providerId="ADAL" clId="{1A7F6640-FA3F-483D-A25F-82A6BBAC422A}" dt="2023-03-28T14:56:07.283" v="143" actId="478"/>
          <ac:picMkLst>
            <pc:docMk/>
            <pc:sldMk cId="2802032895" sldId="260"/>
            <ac:picMk id="1347" creationId="{72D86C28-1A74-5687-C40F-5A17BA90A704}"/>
          </ac:picMkLst>
        </pc:picChg>
        <pc:cxnChg chg="add mod">
          <ac:chgData name="Ramya Muthukrishnan" userId="b537101c-71db-48f5-9a07-607ebb71d678" providerId="ADAL" clId="{1A7F6640-FA3F-483D-A25F-82A6BBAC422A}" dt="2023-03-28T14:51:36.405" v="84" actId="692"/>
          <ac:cxnSpMkLst>
            <pc:docMk/>
            <pc:sldMk cId="2802032895" sldId="260"/>
            <ac:cxnSpMk id="5" creationId="{0F3CAA20-AB7E-C73C-4932-865A7A7087BD}"/>
          </ac:cxnSpMkLst>
        </pc:cxnChg>
      </pc:sldChg>
      <pc:sldChg chg="addSp delSp modSp add mod">
        <pc:chgData name="Ramya Muthukrishnan" userId="b537101c-71db-48f5-9a07-607ebb71d678" providerId="ADAL" clId="{1A7F6640-FA3F-483D-A25F-82A6BBAC422A}" dt="2023-03-28T15:26:18.384" v="167" actId="1076"/>
        <pc:sldMkLst>
          <pc:docMk/>
          <pc:sldMk cId="4212257286" sldId="261"/>
        </pc:sldMkLst>
        <pc:spChg chg="mod ord">
          <ac:chgData name="Ramya Muthukrishnan" userId="b537101c-71db-48f5-9a07-607ebb71d678" providerId="ADAL" clId="{1A7F6640-FA3F-483D-A25F-82A6BBAC422A}" dt="2023-03-28T14:54:01.901" v="121" actId="14100"/>
          <ac:spMkLst>
            <pc:docMk/>
            <pc:sldMk cId="4212257286" sldId="261"/>
            <ac:spMk id="2" creationId="{7F0EA6A4-7C35-B573-813D-DD2A8899C3F5}"/>
          </ac:spMkLst>
        </pc:spChg>
        <pc:spChg chg="add mod">
          <ac:chgData name="Ramya Muthukrishnan" userId="b537101c-71db-48f5-9a07-607ebb71d678" providerId="ADAL" clId="{1A7F6640-FA3F-483D-A25F-82A6BBAC422A}" dt="2023-03-28T14:55:48.221" v="142" actId="14100"/>
          <ac:spMkLst>
            <pc:docMk/>
            <pc:sldMk cId="4212257286" sldId="261"/>
            <ac:spMk id="4" creationId="{2145D546-B568-ABE3-FA2D-A21BDA0A41B6}"/>
          </ac:spMkLst>
        </pc:spChg>
        <pc:spChg chg="mod">
          <ac:chgData name="Ramya Muthukrishnan" userId="b537101c-71db-48f5-9a07-607ebb71d678" providerId="ADAL" clId="{1A7F6640-FA3F-483D-A25F-82A6BBAC422A}" dt="2023-03-28T14:53:20.861" v="115" actId="1076"/>
          <ac:spMkLst>
            <pc:docMk/>
            <pc:sldMk cId="4212257286" sldId="261"/>
            <ac:spMk id="13" creationId="{C5AC7BBD-CC15-2896-4499-76C0A7CA88E2}"/>
          </ac:spMkLst>
        </pc:spChg>
        <pc:spChg chg="mod">
          <ac:chgData name="Ramya Muthukrishnan" userId="b537101c-71db-48f5-9a07-607ebb71d678" providerId="ADAL" clId="{1A7F6640-FA3F-483D-A25F-82A6BBAC422A}" dt="2023-03-28T15:26:14.659" v="165" actId="1076"/>
          <ac:spMkLst>
            <pc:docMk/>
            <pc:sldMk cId="4212257286" sldId="261"/>
            <ac:spMk id="14" creationId="{7C3377D2-1788-A656-D015-3FF3C00B8977}"/>
          </ac:spMkLst>
        </pc:spChg>
        <pc:spChg chg="mod">
          <ac:chgData name="Ramya Muthukrishnan" userId="b537101c-71db-48f5-9a07-607ebb71d678" providerId="ADAL" clId="{1A7F6640-FA3F-483D-A25F-82A6BBAC422A}" dt="2023-03-28T15:26:16.571" v="166" actId="1076"/>
          <ac:spMkLst>
            <pc:docMk/>
            <pc:sldMk cId="4212257286" sldId="261"/>
            <ac:spMk id="18" creationId="{1120781B-B58A-5401-3511-2DA27D9372E3}"/>
          </ac:spMkLst>
        </pc:spChg>
        <pc:spChg chg="mod">
          <ac:chgData name="Ramya Muthukrishnan" userId="b537101c-71db-48f5-9a07-607ebb71d678" providerId="ADAL" clId="{1A7F6640-FA3F-483D-A25F-82A6BBAC422A}" dt="2023-03-28T15:26:18.384" v="167" actId="1076"/>
          <ac:spMkLst>
            <pc:docMk/>
            <pc:sldMk cId="4212257286" sldId="261"/>
            <ac:spMk id="19" creationId="{70A28387-F033-9920-2E77-218B6C9B8EF7}"/>
          </ac:spMkLst>
        </pc:spChg>
        <pc:spChg chg="mod">
          <ac:chgData name="Ramya Muthukrishnan" userId="b537101c-71db-48f5-9a07-607ebb71d678" providerId="ADAL" clId="{1A7F6640-FA3F-483D-A25F-82A6BBAC422A}" dt="2023-03-28T15:25:53.077" v="157" actId="1076"/>
          <ac:spMkLst>
            <pc:docMk/>
            <pc:sldMk cId="4212257286" sldId="261"/>
            <ac:spMk id="20" creationId="{1ED16EED-7A72-F9AB-645E-0909F76CF76C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21" creationId="{5B7A675E-2A33-47CA-95AE-7F3A8F2E06C7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23" creationId="{7463DD9C-E22A-45A4-A3D3-4AE15993E7ED}"/>
          </ac:spMkLst>
        </pc:spChg>
        <pc:spChg chg="mod">
          <ac:chgData name="Ramya Muthukrishnan" userId="b537101c-71db-48f5-9a07-607ebb71d678" providerId="ADAL" clId="{1A7F6640-FA3F-483D-A25F-82A6BBAC422A}" dt="2023-03-28T15:26:14.659" v="165" actId="1076"/>
          <ac:spMkLst>
            <pc:docMk/>
            <pc:sldMk cId="4212257286" sldId="261"/>
            <ac:spMk id="30" creationId="{74BE52A7-47D8-4C13-A15B-B68077B40513}"/>
          </ac:spMkLst>
        </pc:spChg>
        <pc:spChg chg="mod">
          <ac:chgData name="Ramya Muthukrishnan" userId="b537101c-71db-48f5-9a07-607ebb71d678" providerId="ADAL" clId="{1A7F6640-FA3F-483D-A25F-82A6BBAC422A}" dt="2023-03-28T15:26:16.571" v="166" actId="1076"/>
          <ac:spMkLst>
            <pc:docMk/>
            <pc:sldMk cId="4212257286" sldId="261"/>
            <ac:spMk id="34" creationId="{8FFE7836-0D3B-464F-8FA2-25F0E6B57CD0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6" creationId="{58A0DB50-F443-4D6E-807F-4445E3D6BF47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7" creationId="{03340082-7332-4089-B21E-8E5C4C0CE358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8" creationId="{42BF4B25-F6CF-4A8B-8BB8-2F57665D6F5D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9" creationId="{360DABBC-171A-4E18-965C-1F8F61A5CDBF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12" creationId="{69892ECC-2860-41AC-8F48-BD315CB0702D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13" creationId="{1FCF6282-0808-4554-BA56-1877B269FAF3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14" creationId="{F4C4D48C-C91F-4E2C-AAED-18E06B81C6DD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15" creationId="{4E506E3B-A726-4CAB-BFD0-9F979AD4546D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17" creationId="{9769640F-262D-46C2-B4A5-2E382CB172D6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18" creationId="{8AF8F117-6D0B-4EFC-A88B-4EBC7B49ACF6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19" creationId="{4D2D00A0-0D09-4C57-A20A-4A6EB2D504FA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20" creationId="{92F27D91-58BE-43CC-9D35-59C1C6905C5D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27" creationId="{D70A7A42-CECC-172C-4AE4-B9A6BE152CCF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32" creationId="{0A0048D4-CA69-50FC-1208-A19D86007663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33" creationId="{53943BD7-4211-9CB7-747A-F1595685D81C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36" creationId="{1DD87450-F866-9309-2A79-C10422243A69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37" creationId="{F3BED6E3-D2E3-836B-D952-D244D6808F5B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38" creationId="{9460AD8C-96B9-74AC-FCBF-9A576187ABE9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39" creationId="{A52B46C9-7915-32A6-52FD-F9D9F03A5636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45" creationId="{EA3B5DFC-7874-CC09-922E-062999CC769F}"/>
          </ac:spMkLst>
        </pc:spChg>
        <pc:spChg chg="mod">
          <ac:chgData name="Ramya Muthukrishnan" userId="b537101c-71db-48f5-9a07-607ebb71d678" providerId="ADAL" clId="{1A7F6640-FA3F-483D-A25F-82A6BBAC422A}" dt="2023-03-28T15:26:14.659" v="165" actId="1076"/>
          <ac:spMkLst>
            <pc:docMk/>
            <pc:sldMk cId="4212257286" sldId="261"/>
            <ac:spMk id="1060" creationId="{4DC2E5B9-3F04-2D69-9777-3D52BACC8391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088" creationId="{9853C27A-3E73-776A-0CCE-5501F4B412A6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126" creationId="{2EF11FC0-FE6B-4035-A9DD-EC2B3EC445A5}"/>
          </ac:spMkLst>
        </pc:spChg>
        <pc:spChg chg="mod">
          <ac:chgData name="Ramya Muthukrishnan" userId="b537101c-71db-48f5-9a07-607ebb71d678" providerId="ADAL" clId="{1A7F6640-FA3F-483D-A25F-82A6BBAC422A}" dt="2023-03-28T14:52:23.115" v="93" actId="164"/>
          <ac:spMkLst>
            <pc:docMk/>
            <pc:sldMk cId="4212257286" sldId="261"/>
            <ac:spMk id="1306" creationId="{4F0BBC05-5C49-6F62-1EF4-E7E90E106832}"/>
          </ac:spMkLst>
        </pc:spChg>
        <pc:grpChg chg="add mod">
          <ac:chgData name="Ramya Muthukrishnan" userId="b537101c-71db-48f5-9a07-607ebb71d678" providerId="ADAL" clId="{1A7F6640-FA3F-483D-A25F-82A6BBAC422A}" dt="2023-03-28T15:25:53.077" v="157" actId="1076"/>
          <ac:grpSpMkLst>
            <pc:docMk/>
            <pc:sldMk cId="4212257286" sldId="261"/>
            <ac:grpSpMk id="3" creationId="{2379EFFE-17CB-B7EE-398E-B77F66B98668}"/>
          </ac:grpSpMkLst>
        </pc:grpChg>
        <pc:grpChg chg="mod">
          <ac:chgData name="Ramya Muthukrishnan" userId="b537101c-71db-48f5-9a07-607ebb71d678" providerId="ADAL" clId="{1A7F6640-FA3F-483D-A25F-82A6BBAC422A}" dt="2023-03-28T15:26:18.384" v="167" actId="1076"/>
          <ac:grpSpMkLst>
            <pc:docMk/>
            <pc:sldMk cId="4212257286" sldId="261"/>
            <ac:grpSpMk id="52" creationId="{9309AE80-8569-48CF-A9F6-8A1ED31394D5}"/>
          </ac:grpSpMkLst>
        </pc:grpChg>
        <pc:grpChg chg="mod">
          <ac:chgData name="Ramya Muthukrishnan" userId="b537101c-71db-48f5-9a07-607ebb71d678" providerId="ADAL" clId="{1A7F6640-FA3F-483D-A25F-82A6BBAC422A}" dt="2023-03-28T14:52:23.115" v="93" actId="164"/>
          <ac:grpSpMkLst>
            <pc:docMk/>
            <pc:sldMk cId="4212257286" sldId="261"/>
            <ac:grpSpMk id="1215" creationId="{24DF3866-5F11-0843-C356-F40D8FD3C08F}"/>
          </ac:grpSpMkLst>
        </pc:grpChg>
        <pc:grpChg chg="mod">
          <ac:chgData name="Ramya Muthukrishnan" userId="b537101c-71db-48f5-9a07-607ebb71d678" providerId="ADAL" clId="{1A7F6640-FA3F-483D-A25F-82A6BBAC422A}" dt="2023-03-28T14:52:23.115" v="93" actId="164"/>
          <ac:grpSpMkLst>
            <pc:docMk/>
            <pc:sldMk cId="4212257286" sldId="261"/>
            <ac:grpSpMk id="1271" creationId="{316411F0-4DAC-FD8A-AB20-83EED5821C40}"/>
          </ac:grpSpMkLst>
        </pc:grpChg>
        <pc:grpChg chg="mod">
          <ac:chgData name="Ramya Muthukrishnan" userId="b537101c-71db-48f5-9a07-607ebb71d678" providerId="ADAL" clId="{1A7F6640-FA3F-483D-A25F-82A6BBAC422A}" dt="2023-03-28T14:52:23.115" v="93" actId="164"/>
          <ac:grpSpMkLst>
            <pc:docMk/>
            <pc:sldMk cId="4212257286" sldId="261"/>
            <ac:grpSpMk id="1302" creationId="{CF788E81-A88B-5E20-0FFF-68682D627CE1}"/>
          </ac:grpSpMkLst>
        </pc:grpChg>
        <pc:picChg chg="add mod">
          <ac:chgData name="Ramya Muthukrishnan" userId="b537101c-71db-48f5-9a07-607ebb71d678" providerId="ADAL" clId="{1A7F6640-FA3F-483D-A25F-82A6BBAC422A}" dt="2023-03-28T15:26:04.079" v="163" actId="1036"/>
          <ac:picMkLst>
            <pc:docMk/>
            <pc:sldMk cId="4212257286" sldId="261"/>
            <ac:picMk id="7" creationId="{C9FDE0F4-144C-830A-83F3-12D3D49859B2}"/>
          </ac:picMkLst>
        </pc:picChg>
        <pc:picChg chg="del mod">
          <ac:chgData name="Ramya Muthukrishnan" userId="b537101c-71db-48f5-9a07-607ebb71d678" providerId="ADAL" clId="{1A7F6640-FA3F-483D-A25F-82A6BBAC422A}" dt="2023-03-28T15:25:34.195" v="150" actId="478"/>
          <ac:picMkLst>
            <pc:docMk/>
            <pc:sldMk cId="4212257286" sldId="261"/>
            <ac:picMk id="1347" creationId="{72D86C28-1A74-5687-C40F-5A17BA90A704}"/>
          </ac:picMkLst>
        </pc:picChg>
        <pc:cxnChg chg="mod">
          <ac:chgData name="Ramya Muthukrishnan" userId="b537101c-71db-48f5-9a07-607ebb71d678" providerId="ADAL" clId="{1A7F6640-FA3F-483D-A25F-82A6BBAC422A}" dt="2023-03-28T14:53:08.975" v="109" actId="408"/>
          <ac:cxnSpMkLst>
            <pc:docMk/>
            <pc:sldMk cId="4212257286" sldId="261"/>
            <ac:cxnSpMk id="5" creationId="{0F3CAA20-AB7E-C73C-4932-865A7A7087BD}"/>
          </ac:cxnSpMkLst>
        </pc:cxnChg>
      </pc:sldChg>
      <pc:sldChg chg="addSp delSp modSp add mod">
        <pc:chgData name="Ramya Muthukrishnan" userId="b537101c-71db-48f5-9a07-607ebb71d678" providerId="ADAL" clId="{1A7F6640-FA3F-483D-A25F-82A6BBAC422A}" dt="2023-03-28T15:32:42.281" v="188" actId="207"/>
        <pc:sldMkLst>
          <pc:docMk/>
          <pc:sldMk cId="1311993855" sldId="262"/>
        </pc:sldMkLst>
        <pc:spChg chg="mod">
          <ac:chgData name="Ramya Muthukrishnan" userId="b537101c-71db-48f5-9a07-607ebb71d678" providerId="ADAL" clId="{1A7F6640-FA3F-483D-A25F-82A6BBAC422A}" dt="2023-03-28T15:32:29.411" v="184" actId="14100"/>
          <ac:spMkLst>
            <pc:docMk/>
            <pc:sldMk cId="1311993855" sldId="262"/>
            <ac:spMk id="2" creationId="{7F0EA6A4-7C35-B573-813D-DD2A8899C3F5}"/>
          </ac:spMkLst>
        </pc:spChg>
        <pc:spChg chg="mod">
          <ac:chgData name="Ramya Muthukrishnan" userId="b537101c-71db-48f5-9a07-607ebb71d678" providerId="ADAL" clId="{1A7F6640-FA3F-483D-A25F-82A6BBAC422A}" dt="2023-03-28T15:32:42.281" v="188" actId="207"/>
          <ac:spMkLst>
            <pc:docMk/>
            <pc:sldMk cId="1311993855" sldId="262"/>
            <ac:spMk id="4" creationId="{2145D546-B568-ABE3-FA2D-A21BDA0A41B6}"/>
          </ac:spMkLst>
        </pc:spChg>
        <pc:spChg chg="mod">
          <ac:chgData name="Ramya Muthukrishnan" userId="b537101c-71db-48f5-9a07-607ebb71d678" providerId="ADAL" clId="{1A7F6640-FA3F-483D-A25F-82A6BBAC422A}" dt="2023-03-28T15:32:38.090" v="187" actId="1076"/>
          <ac:spMkLst>
            <pc:docMk/>
            <pc:sldMk cId="1311993855" sldId="262"/>
            <ac:spMk id="13" creationId="{C5AC7BBD-CC15-2896-4499-76C0A7CA88E2}"/>
          </ac:spMkLst>
        </pc:spChg>
        <pc:spChg chg="mod">
          <ac:chgData name="Ramya Muthukrishnan" userId="b537101c-71db-48f5-9a07-607ebb71d678" providerId="ADAL" clId="{1A7F6640-FA3F-483D-A25F-82A6BBAC422A}" dt="2023-03-28T15:32:16.729" v="178" actId="1076"/>
          <ac:spMkLst>
            <pc:docMk/>
            <pc:sldMk cId="1311993855" sldId="262"/>
            <ac:spMk id="14" creationId="{7C3377D2-1788-A656-D015-3FF3C00B8977}"/>
          </ac:spMkLst>
        </pc:spChg>
        <pc:spChg chg="mod">
          <ac:chgData name="Ramya Muthukrishnan" userId="b537101c-71db-48f5-9a07-607ebb71d678" providerId="ADAL" clId="{1A7F6640-FA3F-483D-A25F-82A6BBAC422A}" dt="2023-03-28T15:32:15.289" v="177" actId="1076"/>
          <ac:spMkLst>
            <pc:docMk/>
            <pc:sldMk cId="1311993855" sldId="262"/>
            <ac:spMk id="18" creationId="{1120781B-B58A-5401-3511-2DA27D9372E3}"/>
          </ac:spMkLst>
        </pc:spChg>
        <pc:spChg chg="mod">
          <ac:chgData name="Ramya Muthukrishnan" userId="b537101c-71db-48f5-9a07-607ebb71d678" providerId="ADAL" clId="{1A7F6640-FA3F-483D-A25F-82A6BBAC422A}" dt="2023-03-28T15:32:20.905" v="180" actId="1076"/>
          <ac:spMkLst>
            <pc:docMk/>
            <pc:sldMk cId="1311993855" sldId="262"/>
            <ac:spMk id="20" creationId="{1ED16EED-7A72-F9AB-645E-0909F76CF76C}"/>
          </ac:spMkLst>
        </pc:spChg>
        <pc:spChg chg="mod">
          <ac:chgData name="Ramya Muthukrishnan" userId="b537101c-71db-48f5-9a07-607ebb71d678" providerId="ADAL" clId="{1A7F6640-FA3F-483D-A25F-82A6BBAC422A}" dt="2023-03-28T15:32:17.858" v="179" actId="1076"/>
          <ac:spMkLst>
            <pc:docMk/>
            <pc:sldMk cId="1311993855" sldId="262"/>
            <ac:spMk id="30" creationId="{74BE52A7-47D8-4C13-A15B-B68077B40513}"/>
          </ac:spMkLst>
        </pc:spChg>
        <pc:spChg chg="mod">
          <ac:chgData name="Ramya Muthukrishnan" userId="b537101c-71db-48f5-9a07-607ebb71d678" providerId="ADAL" clId="{1A7F6640-FA3F-483D-A25F-82A6BBAC422A}" dt="2023-03-28T15:32:15.289" v="177" actId="1076"/>
          <ac:spMkLst>
            <pc:docMk/>
            <pc:sldMk cId="1311993855" sldId="262"/>
            <ac:spMk id="34" creationId="{8FFE7836-0D3B-464F-8FA2-25F0E6B57CD0}"/>
          </ac:spMkLst>
        </pc:spChg>
        <pc:spChg chg="mod">
          <ac:chgData name="Ramya Muthukrishnan" userId="b537101c-71db-48f5-9a07-607ebb71d678" providerId="ADAL" clId="{1A7F6640-FA3F-483D-A25F-82A6BBAC422A}" dt="2023-03-28T15:32:16.729" v="178" actId="1076"/>
          <ac:spMkLst>
            <pc:docMk/>
            <pc:sldMk cId="1311993855" sldId="262"/>
            <ac:spMk id="1060" creationId="{4DC2E5B9-3F04-2D69-9777-3D52BACC8391}"/>
          </ac:spMkLst>
        </pc:spChg>
        <pc:picChg chg="del">
          <ac:chgData name="Ramya Muthukrishnan" userId="b537101c-71db-48f5-9a07-607ebb71d678" providerId="ADAL" clId="{1A7F6640-FA3F-483D-A25F-82A6BBAC422A}" dt="2023-03-28T15:31:10.775" v="169" actId="478"/>
          <ac:picMkLst>
            <pc:docMk/>
            <pc:sldMk cId="1311993855" sldId="262"/>
            <ac:picMk id="7" creationId="{C9FDE0F4-144C-830A-83F3-12D3D49859B2}"/>
          </ac:picMkLst>
        </pc:picChg>
        <pc:picChg chg="add del mod">
          <ac:chgData name="Ramya Muthukrishnan" userId="b537101c-71db-48f5-9a07-607ebb71d678" providerId="ADAL" clId="{1A7F6640-FA3F-483D-A25F-82A6BBAC422A}" dt="2023-03-28T15:32:09.175" v="175" actId="478"/>
          <ac:picMkLst>
            <pc:docMk/>
            <pc:sldMk cId="1311993855" sldId="262"/>
            <ac:picMk id="8" creationId="{3946B5F3-144D-C58D-9CFC-1A8B7C2D7744}"/>
          </ac:picMkLst>
        </pc:picChg>
        <pc:picChg chg="add mod">
          <ac:chgData name="Ramya Muthukrishnan" userId="b537101c-71db-48f5-9a07-607ebb71d678" providerId="ADAL" clId="{1A7F6640-FA3F-483D-A25F-82A6BBAC422A}" dt="2023-03-28T15:32:33.802" v="186" actId="1076"/>
          <ac:picMkLst>
            <pc:docMk/>
            <pc:sldMk cId="1311993855" sldId="262"/>
            <ac:picMk id="11" creationId="{74806445-8612-F20C-73B5-5DF15B0ADE07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5597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8177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5038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5075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6925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89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779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82382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66878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5211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3731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701B5ED-C44B-EF0E-BF9C-230643EB13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3159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47" imgH="348" progId="TCLayout.ActiveDocument.1">
                  <p:embed/>
                </p:oleObj>
              </mc:Choice>
              <mc:Fallback>
                <p:oleObj name="think-cell Slide" r:id="rId1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701B5ED-C44B-EF0E-BF9C-230643EB13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7DF7B8-38D5-4C0F-AA11-61B7D3C6F490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1E2EE6-0850-4A45-B385-48889BF691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8974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F4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7F0EA6A4-7C35-B573-813D-DD2A8899C3F5}"/>
              </a:ext>
            </a:extLst>
          </p:cNvPr>
          <p:cNvSpPr/>
          <p:nvPr/>
        </p:nvSpPr>
        <p:spPr>
          <a:xfrm rot="5400000">
            <a:off x="2371625" y="-2371625"/>
            <a:ext cx="2114747" cy="6857998"/>
          </a:xfrm>
          <a:prstGeom prst="round1Rect">
            <a:avLst>
              <a:gd name="adj" fmla="val 50000"/>
            </a:avLst>
          </a:prstGeom>
          <a:solidFill>
            <a:srgbClr val="173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77B5EBA-7813-46F2-A913-8F385579F3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77B5EBA-7813-46F2-A913-8F385579F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C3377D2-1788-A656-D015-3FF3C00B8977}"/>
              </a:ext>
            </a:extLst>
          </p:cNvPr>
          <p:cNvSpPr txBox="1"/>
          <p:nvPr/>
        </p:nvSpPr>
        <p:spPr>
          <a:xfrm>
            <a:off x="396272" y="3064720"/>
            <a:ext cx="3218384" cy="1442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IN" sz="1400" dirty="0">
                <a:latin typeface="Georgia" panose="02040502050405020303" pitchFamily="18" charset="0"/>
              </a:rPr>
              <a:t>The key goal of starting any business venture is to make a profit &amp; capture a share of the market. But for business owners, long before profitability comes the key event that shows you that your business is doing well, &amp; that is the</a:t>
            </a:r>
            <a:endParaRPr lang="en-US" sz="1400" b="1" dirty="0">
              <a:solidFill>
                <a:srgbClr val="FF9629"/>
              </a:solidFill>
              <a:latin typeface="Georgia" panose="02040502050405020303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ED16EED-7A72-F9AB-645E-0909F76CF76C}"/>
              </a:ext>
            </a:extLst>
          </p:cNvPr>
          <p:cNvSpPr txBox="1"/>
          <p:nvPr/>
        </p:nvSpPr>
        <p:spPr>
          <a:xfrm>
            <a:off x="4105502" y="2837415"/>
            <a:ext cx="249124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"/>
              </a:spcAft>
            </a:pPr>
            <a:r>
              <a:rPr lang="en-IN" sz="1600" b="1" dirty="0">
                <a:solidFill>
                  <a:srgbClr val="173787"/>
                </a:solidFill>
                <a:latin typeface="Georgia" panose="02040502050405020303" pitchFamily="18" charset="0"/>
              </a:rPr>
              <a:t>A breakeven financial template breaks down the following for you</a:t>
            </a:r>
          </a:p>
        </p:txBody>
      </p:sp>
      <p:sp>
        <p:nvSpPr>
          <p:cNvPr id="1060" name="TextBox 1059">
            <a:extLst>
              <a:ext uri="{FF2B5EF4-FFF2-40B4-BE49-F238E27FC236}">
                <a16:creationId xmlns:a16="http://schemas.microsoft.com/office/drawing/2014/main" id="{4DC2E5B9-3F04-2D69-9777-3D52BACC8391}"/>
              </a:ext>
            </a:extLst>
          </p:cNvPr>
          <p:cNvSpPr txBox="1"/>
          <p:nvPr/>
        </p:nvSpPr>
        <p:spPr>
          <a:xfrm>
            <a:off x="396272" y="4715863"/>
            <a:ext cx="301650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IN" sz="2800" b="1" dirty="0">
                <a:solidFill>
                  <a:srgbClr val="173787"/>
                </a:solidFill>
                <a:latin typeface="Georgia" panose="02040502050405020303" pitchFamily="18" charset="0"/>
              </a:rPr>
              <a:t>BREAKEVEN POINT!</a:t>
            </a:r>
            <a:endParaRPr lang="en-US" sz="2800" b="1" dirty="0">
              <a:solidFill>
                <a:srgbClr val="173787"/>
              </a:solidFill>
              <a:latin typeface="Georgia" panose="02040502050405020303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379EFFE-17CB-B7EE-398E-B77F66B98668}"/>
              </a:ext>
            </a:extLst>
          </p:cNvPr>
          <p:cNvGrpSpPr/>
          <p:nvPr/>
        </p:nvGrpSpPr>
        <p:grpSpPr>
          <a:xfrm>
            <a:off x="3970892" y="3701886"/>
            <a:ext cx="2504250" cy="5839623"/>
            <a:chOff x="3970892" y="3670942"/>
            <a:chExt cx="2504250" cy="583962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B7A675E-2A33-47CA-95AE-7F3A8F2E06C7}"/>
                </a:ext>
              </a:extLst>
            </p:cNvPr>
            <p:cNvSpPr/>
            <p:nvPr/>
          </p:nvSpPr>
          <p:spPr>
            <a:xfrm>
              <a:off x="4080503" y="3780553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D9EBFB"/>
                </a:gs>
                <a:gs pos="100000">
                  <a:srgbClr val="5DB0EE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58A0DB50-F443-4D6E-807F-4445E3D6BF47}"/>
                </a:ext>
              </a:extLst>
            </p:cNvPr>
            <p:cNvSpPr/>
            <p:nvPr/>
          </p:nvSpPr>
          <p:spPr>
            <a:xfrm>
              <a:off x="4080503" y="4614059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1F4CB9"/>
                </a:gs>
                <a:gs pos="100000">
                  <a:srgbClr val="173787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42BF4B25-F6CF-4A8B-8BB8-2F57665D6F5D}"/>
                </a:ext>
              </a:extLst>
            </p:cNvPr>
            <p:cNvSpPr/>
            <p:nvPr/>
          </p:nvSpPr>
          <p:spPr>
            <a:xfrm>
              <a:off x="4080503" y="5445758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D9EBFB"/>
                </a:gs>
                <a:gs pos="100000">
                  <a:srgbClr val="5DB0EE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69892ECC-2860-41AC-8F48-BD315CB0702D}"/>
                </a:ext>
              </a:extLst>
            </p:cNvPr>
            <p:cNvSpPr/>
            <p:nvPr/>
          </p:nvSpPr>
          <p:spPr>
            <a:xfrm>
              <a:off x="4080503" y="6279264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1F4CB9"/>
                </a:gs>
                <a:gs pos="100000">
                  <a:srgbClr val="173787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F4C4D48C-C91F-4E2C-AAED-18E06B81C6DD}"/>
                </a:ext>
              </a:extLst>
            </p:cNvPr>
            <p:cNvSpPr/>
            <p:nvPr/>
          </p:nvSpPr>
          <p:spPr>
            <a:xfrm>
              <a:off x="4080503" y="7110962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D9EBFB"/>
                </a:gs>
                <a:gs pos="100000">
                  <a:srgbClr val="5DB0EE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9769640F-262D-46C2-B4A5-2E382CB172D6}"/>
                </a:ext>
              </a:extLst>
            </p:cNvPr>
            <p:cNvSpPr/>
            <p:nvPr/>
          </p:nvSpPr>
          <p:spPr>
            <a:xfrm>
              <a:off x="4080503" y="7944469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1F4CB9"/>
                </a:gs>
                <a:gs pos="100000">
                  <a:srgbClr val="173787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4D2D00A0-0D09-4C57-A20A-4A6EB2D504FA}"/>
                </a:ext>
              </a:extLst>
            </p:cNvPr>
            <p:cNvSpPr/>
            <p:nvPr/>
          </p:nvSpPr>
          <p:spPr>
            <a:xfrm>
              <a:off x="4080503" y="8776167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D9EBFB"/>
                </a:gs>
                <a:gs pos="100000">
                  <a:srgbClr val="5DB0EE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7463DD9C-E22A-45A4-A3D3-4AE15993E7ED}"/>
                </a:ext>
              </a:extLst>
            </p:cNvPr>
            <p:cNvSpPr/>
            <p:nvPr/>
          </p:nvSpPr>
          <p:spPr>
            <a:xfrm flipH="1">
              <a:off x="3970892" y="367094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5DB0E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7" name="Arc 106">
              <a:extLst>
                <a:ext uri="{FF2B5EF4-FFF2-40B4-BE49-F238E27FC236}">
                  <a16:creationId xmlns:a16="http://schemas.microsoft.com/office/drawing/2014/main" id="{03340082-7332-4089-B21E-8E5C4C0CE358}"/>
                </a:ext>
              </a:extLst>
            </p:cNvPr>
            <p:cNvSpPr/>
            <p:nvPr/>
          </p:nvSpPr>
          <p:spPr>
            <a:xfrm>
              <a:off x="3970892" y="450513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1F4C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9" name="Arc 108">
              <a:extLst>
                <a:ext uri="{FF2B5EF4-FFF2-40B4-BE49-F238E27FC236}">
                  <a16:creationId xmlns:a16="http://schemas.microsoft.com/office/drawing/2014/main" id="{360DABBC-171A-4E18-965C-1F8F61A5CDBF}"/>
                </a:ext>
              </a:extLst>
            </p:cNvPr>
            <p:cNvSpPr/>
            <p:nvPr/>
          </p:nvSpPr>
          <p:spPr>
            <a:xfrm flipH="1">
              <a:off x="3970892" y="533932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5DB0E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13" name="Arc 112">
              <a:extLst>
                <a:ext uri="{FF2B5EF4-FFF2-40B4-BE49-F238E27FC236}">
                  <a16:creationId xmlns:a16="http://schemas.microsoft.com/office/drawing/2014/main" id="{1FCF6282-0808-4554-BA56-1877B269FAF3}"/>
                </a:ext>
              </a:extLst>
            </p:cNvPr>
            <p:cNvSpPr/>
            <p:nvPr/>
          </p:nvSpPr>
          <p:spPr>
            <a:xfrm>
              <a:off x="3970892" y="617351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1F4C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15" name="Arc 114">
              <a:extLst>
                <a:ext uri="{FF2B5EF4-FFF2-40B4-BE49-F238E27FC236}">
                  <a16:creationId xmlns:a16="http://schemas.microsoft.com/office/drawing/2014/main" id="{4E506E3B-A726-4CAB-BFD0-9F979AD4546D}"/>
                </a:ext>
              </a:extLst>
            </p:cNvPr>
            <p:cNvSpPr/>
            <p:nvPr/>
          </p:nvSpPr>
          <p:spPr>
            <a:xfrm flipH="1">
              <a:off x="3970892" y="700770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5DB0E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18" name="Arc 117">
              <a:extLst>
                <a:ext uri="{FF2B5EF4-FFF2-40B4-BE49-F238E27FC236}">
                  <a16:creationId xmlns:a16="http://schemas.microsoft.com/office/drawing/2014/main" id="{8AF8F117-6D0B-4EFC-A88B-4EBC7B49ACF6}"/>
                </a:ext>
              </a:extLst>
            </p:cNvPr>
            <p:cNvSpPr/>
            <p:nvPr/>
          </p:nvSpPr>
          <p:spPr>
            <a:xfrm>
              <a:off x="3970892" y="784189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1F4C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0" name="Arc 119">
              <a:extLst>
                <a:ext uri="{FF2B5EF4-FFF2-40B4-BE49-F238E27FC236}">
                  <a16:creationId xmlns:a16="http://schemas.microsoft.com/office/drawing/2014/main" id="{92F27D91-58BE-43CC-9D35-59C1C6905C5D}"/>
                </a:ext>
              </a:extLst>
            </p:cNvPr>
            <p:cNvSpPr/>
            <p:nvPr/>
          </p:nvSpPr>
          <p:spPr>
            <a:xfrm flipH="1">
              <a:off x="3970892" y="8676081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5DB0E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27" name="TextBox 1026">
              <a:extLst>
                <a:ext uri="{FF2B5EF4-FFF2-40B4-BE49-F238E27FC236}">
                  <a16:creationId xmlns:a16="http://schemas.microsoft.com/office/drawing/2014/main" id="{D70A7A42-CECC-172C-4AE4-B9A6BE152CCF}"/>
                </a:ext>
              </a:extLst>
            </p:cNvPr>
            <p:cNvSpPr txBox="1"/>
            <p:nvPr/>
          </p:nvSpPr>
          <p:spPr>
            <a:xfrm>
              <a:off x="4942856" y="3872740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Initial investment needed</a:t>
              </a:r>
            </a:p>
          </p:txBody>
        </p:sp>
        <p:sp>
          <p:nvSpPr>
            <p:cNvPr id="1032" name="TextBox 1031">
              <a:extLst>
                <a:ext uri="{FF2B5EF4-FFF2-40B4-BE49-F238E27FC236}">
                  <a16:creationId xmlns:a16="http://schemas.microsoft.com/office/drawing/2014/main" id="{0A0048D4-CA69-50FC-1208-A19D86007663}"/>
                </a:ext>
              </a:extLst>
            </p:cNvPr>
            <p:cNvSpPr txBox="1"/>
            <p:nvPr/>
          </p:nvSpPr>
          <p:spPr>
            <a:xfrm>
              <a:off x="4942856" y="4706247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Runway capital required</a:t>
              </a:r>
            </a:p>
          </p:txBody>
        </p:sp>
        <p:sp>
          <p:nvSpPr>
            <p:cNvPr id="1033" name="TextBox 1032">
              <a:extLst>
                <a:ext uri="{FF2B5EF4-FFF2-40B4-BE49-F238E27FC236}">
                  <a16:creationId xmlns:a16="http://schemas.microsoft.com/office/drawing/2014/main" id="{53943BD7-4211-9CB7-747A-F1595685D81C}"/>
                </a:ext>
              </a:extLst>
            </p:cNvPr>
            <p:cNvSpPr txBox="1"/>
            <p:nvPr/>
          </p:nvSpPr>
          <p:spPr>
            <a:xfrm>
              <a:off x="4942856" y="5537945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Scope &amp; scale of the business</a:t>
              </a:r>
            </a:p>
          </p:txBody>
        </p:sp>
        <p:sp>
          <p:nvSpPr>
            <p:cNvPr id="1036" name="TextBox 1035">
              <a:extLst>
                <a:ext uri="{FF2B5EF4-FFF2-40B4-BE49-F238E27FC236}">
                  <a16:creationId xmlns:a16="http://schemas.microsoft.com/office/drawing/2014/main" id="{1DD87450-F866-9309-2A79-C10422243A69}"/>
                </a:ext>
              </a:extLst>
            </p:cNvPr>
            <p:cNvSpPr txBox="1"/>
            <p:nvPr/>
          </p:nvSpPr>
          <p:spPr>
            <a:xfrm>
              <a:off x="4942856" y="6371451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Expenses &amp; burden on investors </a:t>
              </a:r>
            </a:p>
          </p:txBody>
        </p:sp>
        <p:sp>
          <p:nvSpPr>
            <p:cNvPr id="1037" name="TextBox 1036">
              <a:extLst>
                <a:ext uri="{FF2B5EF4-FFF2-40B4-BE49-F238E27FC236}">
                  <a16:creationId xmlns:a16="http://schemas.microsoft.com/office/drawing/2014/main" id="{F3BED6E3-D2E3-836B-D952-D244D6808F5B}"/>
                </a:ext>
              </a:extLst>
            </p:cNvPr>
            <p:cNvSpPr txBox="1"/>
            <p:nvPr/>
          </p:nvSpPr>
          <p:spPr>
            <a:xfrm>
              <a:off x="4942856" y="7203150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When to get investors </a:t>
              </a:r>
            </a:p>
          </p:txBody>
        </p:sp>
        <p:sp>
          <p:nvSpPr>
            <p:cNvPr id="1038" name="TextBox 1037">
              <a:extLst>
                <a:ext uri="{FF2B5EF4-FFF2-40B4-BE49-F238E27FC236}">
                  <a16:creationId xmlns:a16="http://schemas.microsoft.com/office/drawing/2014/main" id="{9460AD8C-96B9-74AC-FCBF-9A576187ABE9}"/>
                </a:ext>
              </a:extLst>
            </p:cNvPr>
            <p:cNvSpPr txBox="1"/>
            <p:nvPr/>
          </p:nvSpPr>
          <p:spPr>
            <a:xfrm>
              <a:off x="4942856" y="8036656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Time taken for making a profit</a:t>
              </a:r>
            </a:p>
          </p:txBody>
        </p:sp>
        <p:sp>
          <p:nvSpPr>
            <p:cNvPr id="1039" name="TextBox 1038">
              <a:extLst>
                <a:ext uri="{FF2B5EF4-FFF2-40B4-BE49-F238E27FC236}">
                  <a16:creationId xmlns:a16="http://schemas.microsoft.com/office/drawing/2014/main" id="{A52B46C9-7915-32A6-52FD-F9D9F03A5636}"/>
                </a:ext>
              </a:extLst>
            </p:cNvPr>
            <p:cNvSpPr txBox="1"/>
            <p:nvPr/>
          </p:nvSpPr>
          <p:spPr>
            <a:xfrm>
              <a:off x="4942856" y="8868353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Modify &amp; prune expenditures</a:t>
              </a:r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EA3B5DFC-7874-CC09-922E-062999CC769F}"/>
                </a:ext>
              </a:extLst>
            </p:cNvPr>
            <p:cNvSpPr/>
            <p:nvPr/>
          </p:nvSpPr>
          <p:spPr>
            <a:xfrm>
              <a:off x="4261418" y="3910062"/>
              <a:ext cx="253432" cy="356244"/>
            </a:xfrm>
            <a:custGeom>
              <a:avLst/>
              <a:gdLst>
                <a:gd name="connsiteX0" fmla="*/ 3549277 w 3624597"/>
                <a:gd name="connsiteY0" fmla="*/ 3380049 h 5095070"/>
                <a:gd name="connsiteX1" fmla="*/ 3357547 w 3624597"/>
                <a:gd name="connsiteY1" fmla="*/ 3380049 h 5095070"/>
                <a:gd name="connsiteX2" fmla="*/ 3357547 w 3624597"/>
                <a:gd name="connsiteY2" fmla="*/ 2756931 h 5095070"/>
                <a:gd name="connsiteX3" fmla="*/ 3282461 w 3624597"/>
                <a:gd name="connsiteY3" fmla="*/ 2681885 h 5095070"/>
                <a:gd name="connsiteX4" fmla="*/ 2382153 w 3624597"/>
                <a:gd name="connsiteY4" fmla="*/ 2681885 h 5095070"/>
                <a:gd name="connsiteX5" fmla="*/ 2382153 w 3624597"/>
                <a:gd name="connsiteY5" fmla="*/ 2531714 h 5095070"/>
                <a:gd name="connsiteX6" fmla="*/ 3073537 w 3624597"/>
                <a:gd name="connsiteY6" fmla="*/ 2377605 h 5095070"/>
                <a:gd name="connsiteX7" fmla="*/ 3329791 w 3624597"/>
                <a:gd name="connsiteY7" fmla="*/ 1717258 h 5095070"/>
                <a:gd name="connsiteX8" fmla="*/ 3324697 w 3624597"/>
                <a:gd name="connsiteY8" fmla="*/ 1673935 h 5095070"/>
                <a:gd name="connsiteX9" fmla="*/ 3284283 w 3624597"/>
                <a:gd name="connsiteY9" fmla="*/ 1656594 h 5095070"/>
                <a:gd name="connsiteX10" fmla="*/ 2536644 w 3624597"/>
                <a:gd name="connsiteY10" fmla="*/ 1747531 h 5095070"/>
                <a:gd name="connsiteX11" fmla="*/ 2382800 w 3624597"/>
                <a:gd name="connsiteY11" fmla="*/ 1904550 h 5095070"/>
                <a:gd name="connsiteX12" fmla="*/ 2381928 w 3624597"/>
                <a:gd name="connsiteY12" fmla="*/ 1896624 h 5095070"/>
                <a:gd name="connsiteX13" fmla="*/ 2381928 w 3624597"/>
                <a:gd name="connsiteY13" fmla="*/ 1299958 h 5095070"/>
                <a:gd name="connsiteX14" fmla="*/ 2704009 w 3624597"/>
                <a:gd name="connsiteY14" fmla="*/ 640415 h 5095070"/>
                <a:gd name="connsiteX15" fmla="*/ 2310898 w 3624597"/>
                <a:gd name="connsiteY15" fmla="*/ 20628 h 5095070"/>
                <a:gd name="connsiteX16" fmla="*/ 2272777 w 3624597"/>
                <a:gd name="connsiteY16" fmla="*/ 0 h 5095070"/>
                <a:gd name="connsiteX17" fmla="*/ 2235882 w 3624597"/>
                <a:gd name="connsiteY17" fmla="*/ 22694 h 5095070"/>
                <a:gd name="connsiteX18" fmla="*/ 1877786 w 3624597"/>
                <a:gd name="connsiteY18" fmla="*/ 661497 h 5095070"/>
                <a:gd name="connsiteX19" fmla="*/ 2231904 w 3624597"/>
                <a:gd name="connsiteY19" fmla="*/ 1302486 h 5095070"/>
                <a:gd name="connsiteX20" fmla="*/ 2231904 w 3624597"/>
                <a:gd name="connsiteY20" fmla="*/ 1521472 h 5095070"/>
                <a:gd name="connsiteX21" fmla="*/ 1826204 w 3624597"/>
                <a:gd name="connsiteY21" fmla="*/ 1250326 h 5095070"/>
                <a:gd name="connsiteX22" fmla="*/ 1339521 w 3624597"/>
                <a:gd name="connsiteY22" fmla="*/ 1285615 h 5095070"/>
                <a:gd name="connsiteX23" fmla="*/ 1299608 w 3624597"/>
                <a:gd name="connsiteY23" fmla="*/ 1302604 h 5095070"/>
                <a:gd name="connsiteX24" fmla="*/ 1294484 w 3624597"/>
                <a:gd name="connsiteY24" fmla="*/ 1345584 h 5095070"/>
                <a:gd name="connsiteX25" fmla="*/ 1545996 w 3624597"/>
                <a:gd name="connsiteY25" fmla="*/ 2003560 h 5095070"/>
                <a:gd name="connsiteX26" fmla="*/ 2232139 w 3624597"/>
                <a:gd name="connsiteY26" fmla="*/ 2163028 h 5095070"/>
                <a:gd name="connsiteX27" fmla="*/ 2232139 w 3624597"/>
                <a:gd name="connsiteY27" fmla="*/ 2681934 h 5095070"/>
                <a:gd name="connsiteX28" fmla="*/ 1288165 w 3624597"/>
                <a:gd name="connsiteY28" fmla="*/ 2681934 h 5095070"/>
                <a:gd name="connsiteX29" fmla="*/ 1213079 w 3624597"/>
                <a:gd name="connsiteY29" fmla="*/ 2757019 h 5095070"/>
                <a:gd name="connsiteX30" fmla="*/ 1213079 w 3624597"/>
                <a:gd name="connsiteY30" fmla="*/ 2922767 h 5095070"/>
                <a:gd name="connsiteX31" fmla="*/ 277491 w 3624597"/>
                <a:gd name="connsiteY31" fmla="*/ 3278982 h 5095070"/>
                <a:gd name="connsiteX32" fmla="*/ 27439 w 3624597"/>
                <a:gd name="connsiteY32" fmla="*/ 4248360 h 5095070"/>
                <a:gd name="connsiteX33" fmla="*/ 674050 w 3624597"/>
                <a:gd name="connsiteY33" fmla="*/ 5012694 h 5095070"/>
                <a:gd name="connsiteX34" fmla="*/ 1671498 w 3624597"/>
                <a:gd name="connsiteY34" fmla="*/ 4926734 h 5095070"/>
                <a:gd name="connsiteX35" fmla="*/ 3282736 w 3624597"/>
                <a:gd name="connsiteY35" fmla="*/ 4926734 h 5095070"/>
                <a:gd name="connsiteX36" fmla="*/ 3282696 w 3624597"/>
                <a:gd name="connsiteY36" fmla="*/ 4926734 h 5095070"/>
                <a:gd name="connsiteX37" fmla="*/ 3357782 w 3624597"/>
                <a:gd name="connsiteY37" fmla="*/ 4851648 h 5095070"/>
                <a:gd name="connsiteX38" fmla="*/ 3357782 w 3624597"/>
                <a:gd name="connsiteY38" fmla="*/ 4227962 h 5095070"/>
                <a:gd name="connsiteX39" fmla="*/ 3549512 w 3624597"/>
                <a:gd name="connsiteY39" fmla="*/ 4227962 h 5095070"/>
                <a:gd name="connsiteX40" fmla="*/ 3624597 w 3624597"/>
                <a:gd name="connsiteY40" fmla="*/ 4152877 h 5095070"/>
                <a:gd name="connsiteX41" fmla="*/ 3624597 w 3624597"/>
                <a:gd name="connsiteY41" fmla="*/ 3455056 h 5095070"/>
                <a:gd name="connsiteX42" fmla="*/ 3602475 w 3624597"/>
                <a:gd name="connsiteY42" fmla="*/ 3401896 h 5095070"/>
                <a:gd name="connsiteX43" fmla="*/ 3549237 w 3624597"/>
                <a:gd name="connsiteY43" fmla="*/ 3380049 h 5095070"/>
                <a:gd name="connsiteX44" fmla="*/ 2028270 w 3624597"/>
                <a:gd name="connsiteY44" fmla="*/ 680054 h 5095070"/>
                <a:gd name="connsiteX45" fmla="*/ 2277794 w 3624597"/>
                <a:gd name="connsiteY45" fmla="*/ 174962 h 5095070"/>
                <a:gd name="connsiteX46" fmla="*/ 2555210 w 3624597"/>
                <a:gd name="connsiteY46" fmla="*/ 665780 h 5095070"/>
                <a:gd name="connsiteX47" fmla="*/ 2304844 w 3624597"/>
                <a:gd name="connsiteY47" fmla="*/ 1170940 h 5095070"/>
                <a:gd name="connsiteX48" fmla="*/ 2028270 w 3624597"/>
                <a:gd name="connsiteY48" fmla="*/ 680054 h 5095070"/>
                <a:gd name="connsiteX49" fmla="*/ 2627385 w 3624597"/>
                <a:gd name="connsiteY49" fmla="*/ 1867566 h 5095070"/>
                <a:gd name="connsiteX50" fmla="*/ 3184333 w 3624597"/>
                <a:gd name="connsiteY50" fmla="*/ 1779205 h 5095070"/>
                <a:gd name="connsiteX51" fmla="*/ 2944499 w 3624597"/>
                <a:gd name="connsiteY51" fmla="*/ 2289186 h 5095070"/>
                <a:gd name="connsiteX52" fmla="*/ 2387904 w 3624597"/>
                <a:gd name="connsiteY52" fmla="*/ 2377556 h 5095070"/>
                <a:gd name="connsiteX53" fmla="*/ 2627395 w 3624597"/>
                <a:gd name="connsiteY53" fmla="*/ 1867566 h 5095070"/>
                <a:gd name="connsiteX54" fmla="*/ 1680276 w 3624597"/>
                <a:gd name="connsiteY54" fmla="*/ 1917737 h 5095070"/>
                <a:gd name="connsiteX55" fmla="*/ 1680237 w 3624597"/>
                <a:gd name="connsiteY55" fmla="*/ 1917737 h 5095070"/>
                <a:gd name="connsiteX56" fmla="*/ 1440167 w 3624597"/>
                <a:gd name="connsiteY56" fmla="*/ 1407678 h 5095070"/>
                <a:gd name="connsiteX57" fmla="*/ 1956967 w 3624597"/>
                <a:gd name="connsiteY57" fmla="*/ 1468724 h 5095070"/>
                <a:gd name="connsiteX58" fmla="*/ 2232590 w 3624597"/>
                <a:gd name="connsiteY58" fmla="*/ 1910134 h 5095070"/>
                <a:gd name="connsiteX59" fmla="*/ 2232590 w 3624597"/>
                <a:gd name="connsiteY59" fmla="*/ 2007302 h 5095070"/>
                <a:gd name="connsiteX60" fmla="*/ 1679776 w 3624597"/>
                <a:gd name="connsiteY60" fmla="*/ 1917786 h 5095070"/>
                <a:gd name="connsiteX61" fmla="*/ 1363172 w 3624597"/>
                <a:gd name="connsiteY61" fmla="*/ 2831899 h 5095070"/>
                <a:gd name="connsiteX62" fmla="*/ 3207582 w 3624597"/>
                <a:gd name="connsiteY62" fmla="*/ 2831899 h 5095070"/>
                <a:gd name="connsiteX63" fmla="*/ 3207582 w 3624597"/>
                <a:gd name="connsiteY63" fmla="*/ 3379960 h 5095070"/>
                <a:gd name="connsiteX64" fmla="*/ 1983233 w 3624597"/>
                <a:gd name="connsiteY64" fmla="*/ 3379960 h 5095070"/>
                <a:gd name="connsiteX65" fmla="*/ 1363181 w 3624597"/>
                <a:gd name="connsiteY65" fmla="*/ 2950797 h 5095070"/>
                <a:gd name="connsiteX66" fmla="*/ 151853 w 3624597"/>
                <a:gd name="connsiteY66" fmla="*/ 4005107 h 5095070"/>
                <a:gd name="connsiteX67" fmla="*/ 426976 w 3624597"/>
                <a:gd name="connsiteY67" fmla="*/ 3340429 h 5095070"/>
                <a:gd name="connsiteX68" fmla="*/ 1091457 w 3624597"/>
                <a:gd name="connsiteY68" fmla="*/ 3064963 h 5095070"/>
                <a:gd name="connsiteX69" fmla="*/ 1756135 w 3624597"/>
                <a:gd name="connsiteY69" fmla="*/ 3340008 h 5095070"/>
                <a:gd name="connsiteX70" fmla="*/ 2031680 w 3624597"/>
                <a:gd name="connsiteY70" fmla="*/ 4004489 h 5095070"/>
                <a:gd name="connsiteX71" fmla="*/ 1756674 w 3624597"/>
                <a:gd name="connsiteY71" fmla="*/ 4669167 h 5095070"/>
                <a:gd name="connsiteX72" fmla="*/ 1092232 w 3624597"/>
                <a:gd name="connsiteY72" fmla="*/ 4944750 h 5095070"/>
                <a:gd name="connsiteX73" fmla="*/ 427829 w 3624597"/>
                <a:gd name="connsiteY73" fmla="*/ 4669284 h 5095070"/>
                <a:gd name="connsiteX74" fmla="*/ 151863 w 3624597"/>
                <a:gd name="connsiteY74" fmla="*/ 4005107 h 5095070"/>
                <a:gd name="connsiteX75" fmla="*/ 3207582 w 3624597"/>
                <a:gd name="connsiteY75" fmla="*/ 4776553 h 5095070"/>
                <a:gd name="connsiteX76" fmla="*/ 1861062 w 3624597"/>
                <a:gd name="connsiteY76" fmla="*/ 4776553 h 5095070"/>
                <a:gd name="connsiteX77" fmla="*/ 2158494 w 3624597"/>
                <a:gd name="connsiteY77" fmla="*/ 4228413 h 5095070"/>
                <a:gd name="connsiteX78" fmla="*/ 3207572 w 3624597"/>
                <a:gd name="connsiteY78" fmla="*/ 4228413 h 5095070"/>
                <a:gd name="connsiteX79" fmla="*/ 3474329 w 3624597"/>
                <a:gd name="connsiteY79" fmla="*/ 4078467 h 5095070"/>
                <a:gd name="connsiteX80" fmla="*/ 2177971 w 3624597"/>
                <a:gd name="connsiteY80" fmla="*/ 4078428 h 5095070"/>
                <a:gd name="connsiteX81" fmla="*/ 2181684 w 3624597"/>
                <a:gd name="connsiteY81" fmla="*/ 4005371 h 5095070"/>
                <a:gd name="connsiteX82" fmla="*/ 2071201 w 3624597"/>
                <a:gd name="connsiteY82" fmla="*/ 3530327 h 5095070"/>
                <a:gd name="connsiteX83" fmla="*/ 3474544 w 3624597"/>
                <a:gd name="connsiteY83" fmla="*/ 3530327 h 5095070"/>
                <a:gd name="connsiteX84" fmla="*/ 951270 w 3624597"/>
                <a:gd name="connsiteY84" fmla="*/ 3789716 h 5095070"/>
                <a:gd name="connsiteX85" fmla="*/ 951231 w 3624597"/>
                <a:gd name="connsiteY85" fmla="*/ 3789677 h 5095070"/>
                <a:gd name="connsiteX86" fmla="*/ 992604 w 3624597"/>
                <a:gd name="connsiteY86" fmla="*/ 3889216 h 5095070"/>
                <a:gd name="connsiteX87" fmla="*/ 1092222 w 3624597"/>
                <a:gd name="connsiteY87" fmla="*/ 3930472 h 5095070"/>
                <a:gd name="connsiteX88" fmla="*/ 1329920 w 3624597"/>
                <a:gd name="connsiteY88" fmla="*/ 4054200 h 5095070"/>
                <a:gd name="connsiteX89" fmla="*/ 1364896 w 3624597"/>
                <a:gd name="connsiteY89" fmla="*/ 4319869 h 5095070"/>
                <a:gd name="connsiteX90" fmla="*/ 1167307 w 3624597"/>
                <a:gd name="connsiteY90" fmla="*/ 4500891 h 5095070"/>
                <a:gd name="connsiteX91" fmla="*/ 1167307 w 3624597"/>
                <a:gd name="connsiteY91" fmla="*/ 4653746 h 5095070"/>
                <a:gd name="connsiteX92" fmla="*/ 1092222 w 3624597"/>
                <a:gd name="connsiteY92" fmla="*/ 4728831 h 5095070"/>
                <a:gd name="connsiteX93" fmla="*/ 1017136 w 3624597"/>
                <a:gd name="connsiteY93" fmla="*/ 4653746 h 5095070"/>
                <a:gd name="connsiteX94" fmla="*/ 1017136 w 3624597"/>
                <a:gd name="connsiteY94" fmla="*/ 4500587 h 5095070"/>
                <a:gd name="connsiteX95" fmla="*/ 861685 w 3624597"/>
                <a:gd name="connsiteY95" fmla="*/ 4397335 h 5095070"/>
                <a:gd name="connsiteX96" fmla="*/ 801139 w 3624597"/>
                <a:gd name="connsiteY96" fmla="*/ 4220791 h 5095070"/>
                <a:gd name="connsiteX97" fmla="*/ 876224 w 3624597"/>
                <a:gd name="connsiteY97" fmla="*/ 4145705 h 5095070"/>
                <a:gd name="connsiteX98" fmla="*/ 951309 w 3624597"/>
                <a:gd name="connsiteY98" fmla="*/ 4220791 h 5095070"/>
                <a:gd name="connsiteX99" fmla="*/ 992526 w 3624597"/>
                <a:gd name="connsiteY99" fmla="*/ 4319987 h 5095070"/>
                <a:gd name="connsiteX100" fmla="*/ 1091800 w 3624597"/>
                <a:gd name="connsiteY100" fmla="*/ 4361047 h 5095070"/>
                <a:gd name="connsiteX101" fmla="*/ 1191075 w 3624597"/>
                <a:gd name="connsiteY101" fmla="*/ 4319987 h 5095070"/>
                <a:gd name="connsiteX102" fmla="*/ 1232331 w 3624597"/>
                <a:gd name="connsiteY102" fmla="*/ 4220791 h 5095070"/>
                <a:gd name="connsiteX103" fmla="*/ 1191418 w 3624597"/>
                <a:gd name="connsiteY103" fmla="*/ 4121438 h 5095070"/>
                <a:gd name="connsiteX104" fmla="*/ 1092310 w 3624597"/>
                <a:gd name="connsiteY104" fmla="*/ 4080035 h 5095070"/>
                <a:gd name="connsiteX105" fmla="*/ 853916 w 3624597"/>
                <a:gd name="connsiteY105" fmla="*/ 3956562 h 5095070"/>
                <a:gd name="connsiteX106" fmla="*/ 818901 w 3624597"/>
                <a:gd name="connsiteY106" fmla="*/ 3690432 h 5095070"/>
                <a:gd name="connsiteX107" fmla="*/ 1017215 w 3624597"/>
                <a:gd name="connsiteY107" fmla="*/ 3509489 h 5095070"/>
                <a:gd name="connsiteX108" fmla="*/ 1017215 w 3624597"/>
                <a:gd name="connsiteY108" fmla="*/ 3356790 h 5095070"/>
                <a:gd name="connsiteX109" fmla="*/ 1092300 w 3624597"/>
                <a:gd name="connsiteY109" fmla="*/ 3281744 h 5095070"/>
                <a:gd name="connsiteX110" fmla="*/ 1167356 w 3624597"/>
                <a:gd name="connsiteY110" fmla="*/ 3356790 h 5095070"/>
                <a:gd name="connsiteX111" fmla="*/ 1167356 w 3624597"/>
                <a:gd name="connsiteY111" fmla="*/ 3509567 h 5095070"/>
                <a:gd name="connsiteX112" fmla="*/ 1322239 w 3624597"/>
                <a:gd name="connsiteY112" fmla="*/ 3613025 h 5095070"/>
                <a:gd name="connsiteX113" fmla="*/ 1382433 w 3624597"/>
                <a:gd name="connsiteY113" fmla="*/ 3789246 h 5095070"/>
                <a:gd name="connsiteX114" fmla="*/ 1307347 w 3624597"/>
                <a:gd name="connsiteY114" fmla="*/ 3864341 h 5095070"/>
                <a:gd name="connsiteX115" fmla="*/ 1232262 w 3624597"/>
                <a:gd name="connsiteY115" fmla="*/ 3789246 h 5095070"/>
                <a:gd name="connsiteX116" fmla="*/ 1192153 w 3624597"/>
                <a:gd name="connsiteY116" fmla="*/ 3688071 h 5095070"/>
                <a:gd name="connsiteX117" fmla="*/ 1091810 w 3624597"/>
                <a:gd name="connsiteY117" fmla="*/ 3645894 h 5095070"/>
                <a:gd name="connsiteX118" fmla="*/ 991429 w 3624597"/>
                <a:gd name="connsiteY118" fmla="*/ 3688071 h 5095070"/>
                <a:gd name="connsiteX119" fmla="*/ 951319 w 3624597"/>
                <a:gd name="connsiteY119" fmla="*/ 3789246 h 509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3624597" h="5095070">
                  <a:moveTo>
                    <a:pt x="3549277" y="3380049"/>
                  </a:moveTo>
                  <a:lnTo>
                    <a:pt x="3357547" y="3380049"/>
                  </a:lnTo>
                  <a:lnTo>
                    <a:pt x="3357547" y="2756931"/>
                  </a:lnTo>
                  <a:cubicBezTo>
                    <a:pt x="3357547" y="2715489"/>
                    <a:pt x="3323903" y="2681885"/>
                    <a:pt x="3282461" y="2681885"/>
                  </a:cubicBezTo>
                  <a:lnTo>
                    <a:pt x="2382153" y="2681885"/>
                  </a:lnTo>
                  <a:lnTo>
                    <a:pt x="2382153" y="2531714"/>
                  </a:lnTo>
                  <a:cubicBezTo>
                    <a:pt x="2623907" y="2598952"/>
                    <a:pt x="2883257" y="2541168"/>
                    <a:pt x="3073537" y="2377605"/>
                  </a:cubicBezTo>
                  <a:cubicBezTo>
                    <a:pt x="3263817" y="2214081"/>
                    <a:pt x="3359947" y="1966350"/>
                    <a:pt x="3329791" y="1717258"/>
                  </a:cubicBezTo>
                  <a:lnTo>
                    <a:pt x="3324697" y="1673935"/>
                  </a:lnTo>
                  <a:lnTo>
                    <a:pt x="3284283" y="1656594"/>
                  </a:lnTo>
                  <a:cubicBezTo>
                    <a:pt x="3036641" y="1551882"/>
                    <a:pt x="2751985" y="1586486"/>
                    <a:pt x="2536644" y="1747531"/>
                  </a:cubicBezTo>
                  <a:cubicBezTo>
                    <a:pt x="2477900" y="1792000"/>
                    <a:pt x="2426083" y="1844925"/>
                    <a:pt x="2382800" y="1904550"/>
                  </a:cubicBezTo>
                  <a:lnTo>
                    <a:pt x="2381928" y="1896624"/>
                  </a:lnTo>
                  <a:lnTo>
                    <a:pt x="2381928" y="1299958"/>
                  </a:lnTo>
                  <a:cubicBezTo>
                    <a:pt x="2596583" y="1150973"/>
                    <a:pt x="2718508" y="901303"/>
                    <a:pt x="2704009" y="640415"/>
                  </a:cubicBezTo>
                  <a:cubicBezTo>
                    <a:pt x="2689538" y="379566"/>
                    <a:pt x="2540710" y="144934"/>
                    <a:pt x="2310898" y="20628"/>
                  </a:cubicBezTo>
                  <a:lnTo>
                    <a:pt x="2272777" y="0"/>
                  </a:lnTo>
                  <a:lnTo>
                    <a:pt x="2235882" y="22694"/>
                  </a:lnTo>
                  <a:cubicBezTo>
                    <a:pt x="2014025" y="159354"/>
                    <a:pt x="1878590" y="400952"/>
                    <a:pt x="1877786" y="661497"/>
                  </a:cubicBezTo>
                  <a:cubicBezTo>
                    <a:pt x="1876944" y="922043"/>
                    <a:pt x="2010890" y="1164484"/>
                    <a:pt x="2231904" y="1302486"/>
                  </a:cubicBezTo>
                  <a:lnTo>
                    <a:pt x="2231904" y="1521472"/>
                  </a:lnTo>
                  <a:cubicBezTo>
                    <a:pt x="2130601" y="1388485"/>
                    <a:pt x="1987857" y="1293042"/>
                    <a:pt x="1826204" y="1250326"/>
                  </a:cubicBezTo>
                  <a:cubicBezTo>
                    <a:pt x="1664551" y="1207611"/>
                    <a:pt x="1493297" y="1220014"/>
                    <a:pt x="1339521" y="1285615"/>
                  </a:cubicBezTo>
                  <a:lnTo>
                    <a:pt x="1299608" y="1302604"/>
                  </a:lnTo>
                  <a:lnTo>
                    <a:pt x="1294484" y="1345584"/>
                  </a:lnTo>
                  <a:cubicBezTo>
                    <a:pt x="1263750" y="1593079"/>
                    <a:pt x="1358008" y="1839654"/>
                    <a:pt x="1545996" y="2003560"/>
                  </a:cubicBezTo>
                  <a:cubicBezTo>
                    <a:pt x="1733984" y="2167437"/>
                    <a:pt x="1991119" y="2227209"/>
                    <a:pt x="2232139" y="2163028"/>
                  </a:cubicBezTo>
                  <a:lnTo>
                    <a:pt x="2232139" y="2681934"/>
                  </a:lnTo>
                  <a:lnTo>
                    <a:pt x="1288165" y="2681934"/>
                  </a:lnTo>
                  <a:cubicBezTo>
                    <a:pt x="1246713" y="2681934"/>
                    <a:pt x="1213079" y="2715567"/>
                    <a:pt x="1213079" y="2757019"/>
                  </a:cubicBezTo>
                  <a:lnTo>
                    <a:pt x="1213079" y="2922767"/>
                  </a:lnTo>
                  <a:cubicBezTo>
                    <a:pt x="861910" y="2882736"/>
                    <a:pt x="513122" y="3015536"/>
                    <a:pt x="277491" y="3278982"/>
                  </a:cubicBezTo>
                  <a:cubicBezTo>
                    <a:pt x="41860" y="3542436"/>
                    <a:pt x="-51360" y="3903814"/>
                    <a:pt x="27439" y="4248360"/>
                  </a:cubicBezTo>
                  <a:cubicBezTo>
                    <a:pt x="106267" y="4592945"/>
                    <a:pt x="347296" y="4877866"/>
                    <a:pt x="674050" y="5012694"/>
                  </a:cubicBezTo>
                  <a:cubicBezTo>
                    <a:pt x="1000805" y="5147522"/>
                    <a:pt x="1372636" y="5115446"/>
                    <a:pt x="1671498" y="4926734"/>
                  </a:cubicBezTo>
                  <a:lnTo>
                    <a:pt x="3282736" y="4926734"/>
                  </a:lnTo>
                  <a:lnTo>
                    <a:pt x="3282696" y="4926734"/>
                  </a:lnTo>
                  <a:cubicBezTo>
                    <a:pt x="3324178" y="4926734"/>
                    <a:pt x="3357782" y="4893139"/>
                    <a:pt x="3357782" y="4851648"/>
                  </a:cubicBezTo>
                  <a:lnTo>
                    <a:pt x="3357782" y="4227962"/>
                  </a:lnTo>
                  <a:lnTo>
                    <a:pt x="3549512" y="4227962"/>
                  </a:lnTo>
                  <a:cubicBezTo>
                    <a:pt x="3590993" y="4227962"/>
                    <a:pt x="3624597" y="4194329"/>
                    <a:pt x="3624597" y="4152877"/>
                  </a:cubicBezTo>
                  <a:lnTo>
                    <a:pt x="3624597" y="3455056"/>
                  </a:lnTo>
                  <a:cubicBezTo>
                    <a:pt x="3624597" y="3435118"/>
                    <a:pt x="3616632" y="3415985"/>
                    <a:pt x="3602475" y="3401896"/>
                  </a:cubicBezTo>
                  <a:cubicBezTo>
                    <a:pt x="3588357" y="3387818"/>
                    <a:pt x="3569185" y="3379970"/>
                    <a:pt x="3549237" y="3380049"/>
                  </a:cubicBezTo>
                  <a:close/>
                  <a:moveTo>
                    <a:pt x="2028270" y="680054"/>
                  </a:moveTo>
                  <a:cubicBezTo>
                    <a:pt x="2022872" y="480780"/>
                    <a:pt x="2116249" y="291725"/>
                    <a:pt x="2277794" y="174962"/>
                  </a:cubicBezTo>
                  <a:cubicBezTo>
                    <a:pt x="2445913" y="282506"/>
                    <a:pt x="2549782" y="466310"/>
                    <a:pt x="2555210" y="665780"/>
                  </a:cubicBezTo>
                  <a:cubicBezTo>
                    <a:pt x="2560608" y="865240"/>
                    <a:pt x="2466839" y="1054452"/>
                    <a:pt x="2304844" y="1170940"/>
                  </a:cubicBezTo>
                  <a:cubicBezTo>
                    <a:pt x="2137224" y="1063015"/>
                    <a:pt x="2033698" y="879318"/>
                    <a:pt x="2028270" y="680054"/>
                  </a:cubicBezTo>
                  <a:close/>
                  <a:moveTo>
                    <a:pt x="2627385" y="1867566"/>
                  </a:moveTo>
                  <a:cubicBezTo>
                    <a:pt x="2787167" y="1748236"/>
                    <a:pt x="2995425" y="1715210"/>
                    <a:pt x="3184333" y="1779205"/>
                  </a:cubicBezTo>
                  <a:cubicBezTo>
                    <a:pt x="3193748" y="1978401"/>
                    <a:pt x="3103928" y="2169357"/>
                    <a:pt x="2944499" y="2289186"/>
                  </a:cubicBezTo>
                  <a:cubicBezTo>
                    <a:pt x="2785031" y="2408985"/>
                    <a:pt x="2576606" y="2442070"/>
                    <a:pt x="2387904" y="2377556"/>
                  </a:cubicBezTo>
                  <a:cubicBezTo>
                    <a:pt x="2378949" y="2178517"/>
                    <a:pt x="2468505" y="1987777"/>
                    <a:pt x="2627395" y="1867566"/>
                  </a:cubicBezTo>
                  <a:close/>
                  <a:moveTo>
                    <a:pt x="1680276" y="1917737"/>
                  </a:moveTo>
                  <a:lnTo>
                    <a:pt x="1680237" y="1917737"/>
                  </a:lnTo>
                  <a:cubicBezTo>
                    <a:pt x="1520994" y="1797722"/>
                    <a:pt x="1431174" y="1606874"/>
                    <a:pt x="1440167" y="1407678"/>
                  </a:cubicBezTo>
                  <a:cubicBezTo>
                    <a:pt x="1612764" y="1348552"/>
                    <a:pt x="1802887" y="1371017"/>
                    <a:pt x="1956967" y="1468724"/>
                  </a:cubicBezTo>
                  <a:cubicBezTo>
                    <a:pt x="2111046" y="1566421"/>
                    <a:pt x="2212457" y="1728770"/>
                    <a:pt x="2232590" y="1910134"/>
                  </a:cubicBezTo>
                  <a:lnTo>
                    <a:pt x="2232590" y="2007302"/>
                  </a:lnTo>
                  <a:cubicBezTo>
                    <a:pt x="2044759" y="2069720"/>
                    <a:pt x="1838294" y="2036273"/>
                    <a:pt x="1679776" y="1917786"/>
                  </a:cubicBezTo>
                  <a:close/>
                  <a:moveTo>
                    <a:pt x="1363172" y="2831899"/>
                  </a:moveTo>
                  <a:lnTo>
                    <a:pt x="3207582" y="2831899"/>
                  </a:lnTo>
                  <a:lnTo>
                    <a:pt x="3207582" y="3379960"/>
                  </a:lnTo>
                  <a:lnTo>
                    <a:pt x="1983233" y="3379960"/>
                  </a:lnTo>
                  <a:cubicBezTo>
                    <a:pt x="1834052" y="3167793"/>
                    <a:pt x="1614272" y="3015664"/>
                    <a:pt x="1363181" y="2950797"/>
                  </a:cubicBezTo>
                  <a:close/>
                  <a:moveTo>
                    <a:pt x="151853" y="4005107"/>
                  </a:moveTo>
                  <a:cubicBezTo>
                    <a:pt x="151814" y="3755818"/>
                    <a:pt x="250745" y="3516738"/>
                    <a:pt x="426976" y="3340429"/>
                  </a:cubicBezTo>
                  <a:cubicBezTo>
                    <a:pt x="603168" y="3164120"/>
                    <a:pt x="842208" y="3065041"/>
                    <a:pt x="1091457" y="3064963"/>
                  </a:cubicBezTo>
                  <a:cubicBezTo>
                    <a:pt x="1340707" y="3064884"/>
                    <a:pt x="1579826" y="3163816"/>
                    <a:pt x="1756135" y="3340008"/>
                  </a:cubicBezTo>
                  <a:cubicBezTo>
                    <a:pt x="1932444" y="3516200"/>
                    <a:pt x="2031562" y="3755201"/>
                    <a:pt x="2031680" y="4004489"/>
                  </a:cubicBezTo>
                  <a:cubicBezTo>
                    <a:pt x="2031758" y="4253738"/>
                    <a:pt x="1932865" y="4492818"/>
                    <a:pt x="1756674" y="4669167"/>
                  </a:cubicBezTo>
                  <a:cubicBezTo>
                    <a:pt x="1580521" y="4845515"/>
                    <a:pt x="1341481" y="4944633"/>
                    <a:pt x="1092232" y="4944750"/>
                  </a:cubicBezTo>
                  <a:cubicBezTo>
                    <a:pt x="843012" y="4944525"/>
                    <a:pt x="604099" y="4845437"/>
                    <a:pt x="427829" y="4669284"/>
                  </a:cubicBezTo>
                  <a:cubicBezTo>
                    <a:pt x="251558" y="4493161"/>
                    <a:pt x="152323" y="4254287"/>
                    <a:pt x="151863" y="4005107"/>
                  </a:cubicBezTo>
                  <a:close/>
                  <a:moveTo>
                    <a:pt x="3207582" y="4776553"/>
                  </a:moveTo>
                  <a:lnTo>
                    <a:pt x="1861062" y="4776553"/>
                  </a:lnTo>
                  <a:cubicBezTo>
                    <a:pt x="2011537" y="4626725"/>
                    <a:pt x="2114906" y="4436220"/>
                    <a:pt x="2158494" y="4228413"/>
                  </a:cubicBezTo>
                  <a:lnTo>
                    <a:pt x="3207572" y="4228413"/>
                  </a:lnTo>
                  <a:close/>
                  <a:moveTo>
                    <a:pt x="3474329" y="4078467"/>
                  </a:moveTo>
                  <a:lnTo>
                    <a:pt x="2177971" y="4078428"/>
                  </a:lnTo>
                  <a:cubicBezTo>
                    <a:pt x="2179577" y="4054171"/>
                    <a:pt x="2181684" y="4030021"/>
                    <a:pt x="2181684" y="4005371"/>
                  </a:cubicBezTo>
                  <a:cubicBezTo>
                    <a:pt x="2181488" y="3840661"/>
                    <a:pt x="2143720" y="3678195"/>
                    <a:pt x="2071201" y="3530327"/>
                  </a:cubicBezTo>
                  <a:lnTo>
                    <a:pt x="3474544" y="3530327"/>
                  </a:lnTo>
                  <a:close/>
                  <a:moveTo>
                    <a:pt x="951270" y="3789716"/>
                  </a:moveTo>
                  <a:lnTo>
                    <a:pt x="951231" y="3789677"/>
                  </a:lnTo>
                  <a:cubicBezTo>
                    <a:pt x="951309" y="3827033"/>
                    <a:pt x="966191" y="3862813"/>
                    <a:pt x="992604" y="3889216"/>
                  </a:cubicBezTo>
                  <a:cubicBezTo>
                    <a:pt x="1019047" y="3915619"/>
                    <a:pt x="1054865" y="3930472"/>
                    <a:pt x="1092222" y="3930472"/>
                  </a:cubicBezTo>
                  <a:cubicBezTo>
                    <a:pt x="1186901" y="3930472"/>
                    <a:pt x="1275614" y="3976626"/>
                    <a:pt x="1329920" y="4054200"/>
                  </a:cubicBezTo>
                  <a:cubicBezTo>
                    <a:pt x="1384225" y="4131734"/>
                    <a:pt x="1397275" y="4230892"/>
                    <a:pt x="1364896" y="4319869"/>
                  </a:cubicBezTo>
                  <a:cubicBezTo>
                    <a:pt x="1332477" y="4408808"/>
                    <a:pt x="1258734" y="4476398"/>
                    <a:pt x="1167307" y="4500891"/>
                  </a:cubicBezTo>
                  <a:lnTo>
                    <a:pt x="1167307" y="4653746"/>
                  </a:lnTo>
                  <a:cubicBezTo>
                    <a:pt x="1167307" y="4695227"/>
                    <a:pt x="1133664" y="4728831"/>
                    <a:pt x="1092222" y="4728831"/>
                  </a:cubicBezTo>
                  <a:cubicBezTo>
                    <a:pt x="1050770" y="4728831"/>
                    <a:pt x="1017136" y="4695227"/>
                    <a:pt x="1017136" y="4653746"/>
                  </a:cubicBezTo>
                  <a:lnTo>
                    <a:pt x="1017136" y="4500587"/>
                  </a:lnTo>
                  <a:cubicBezTo>
                    <a:pt x="955365" y="4484206"/>
                    <a:pt x="900756" y="4447927"/>
                    <a:pt x="861685" y="4397335"/>
                  </a:cubicBezTo>
                  <a:cubicBezTo>
                    <a:pt x="822644" y="4346743"/>
                    <a:pt x="801374" y="4284707"/>
                    <a:pt x="801139" y="4220791"/>
                  </a:cubicBezTo>
                  <a:cubicBezTo>
                    <a:pt x="801139" y="4179309"/>
                    <a:pt x="834782" y="4145705"/>
                    <a:pt x="876224" y="4145705"/>
                  </a:cubicBezTo>
                  <a:cubicBezTo>
                    <a:pt x="917715" y="4145705"/>
                    <a:pt x="951309" y="4179309"/>
                    <a:pt x="951309" y="4220791"/>
                  </a:cubicBezTo>
                  <a:cubicBezTo>
                    <a:pt x="951388" y="4258029"/>
                    <a:pt x="966201" y="4293691"/>
                    <a:pt x="992526" y="4319987"/>
                  </a:cubicBezTo>
                  <a:cubicBezTo>
                    <a:pt x="1018900" y="4346282"/>
                    <a:pt x="1054601" y="4361047"/>
                    <a:pt x="1091800" y="4361047"/>
                  </a:cubicBezTo>
                  <a:cubicBezTo>
                    <a:pt x="1129039" y="4361047"/>
                    <a:pt x="1164750" y="4346282"/>
                    <a:pt x="1191075" y="4319987"/>
                  </a:cubicBezTo>
                  <a:cubicBezTo>
                    <a:pt x="1217449" y="4293691"/>
                    <a:pt x="1232252" y="4258029"/>
                    <a:pt x="1232331" y="4220791"/>
                  </a:cubicBezTo>
                  <a:cubicBezTo>
                    <a:pt x="1232409" y="4183552"/>
                    <a:pt x="1217674" y="4147851"/>
                    <a:pt x="1191418" y="4121438"/>
                  </a:cubicBezTo>
                  <a:cubicBezTo>
                    <a:pt x="1165171" y="4095074"/>
                    <a:pt x="1129500" y="4080182"/>
                    <a:pt x="1092310" y="4080035"/>
                  </a:cubicBezTo>
                  <a:cubicBezTo>
                    <a:pt x="997434" y="4080339"/>
                    <a:pt x="908408" y="4034223"/>
                    <a:pt x="853916" y="3956562"/>
                  </a:cubicBezTo>
                  <a:cubicBezTo>
                    <a:pt x="799424" y="3878919"/>
                    <a:pt x="786375" y="3779537"/>
                    <a:pt x="818901" y="3690432"/>
                  </a:cubicBezTo>
                  <a:cubicBezTo>
                    <a:pt x="851437" y="3601347"/>
                    <a:pt x="925484" y="3533766"/>
                    <a:pt x="1017215" y="3509489"/>
                  </a:cubicBezTo>
                  <a:lnTo>
                    <a:pt x="1017215" y="3356790"/>
                  </a:lnTo>
                  <a:cubicBezTo>
                    <a:pt x="1017215" y="3315348"/>
                    <a:pt x="1050819" y="3281744"/>
                    <a:pt x="1092300" y="3281744"/>
                  </a:cubicBezTo>
                  <a:cubicBezTo>
                    <a:pt x="1133752" y="3281744"/>
                    <a:pt x="1167356" y="3315348"/>
                    <a:pt x="1167356" y="3356790"/>
                  </a:cubicBezTo>
                  <a:lnTo>
                    <a:pt x="1167356" y="3509567"/>
                  </a:lnTo>
                  <a:cubicBezTo>
                    <a:pt x="1228931" y="3526105"/>
                    <a:pt x="1283393" y="3562462"/>
                    <a:pt x="1322239" y="3613025"/>
                  </a:cubicBezTo>
                  <a:cubicBezTo>
                    <a:pt x="1361114" y="3663578"/>
                    <a:pt x="1382276" y="3725486"/>
                    <a:pt x="1382433" y="3789246"/>
                  </a:cubicBezTo>
                  <a:cubicBezTo>
                    <a:pt x="1382433" y="3830737"/>
                    <a:pt x="1348829" y="3864341"/>
                    <a:pt x="1307347" y="3864341"/>
                  </a:cubicBezTo>
                  <a:cubicBezTo>
                    <a:pt x="1265905" y="3864341"/>
                    <a:pt x="1232262" y="3830737"/>
                    <a:pt x="1232262" y="3789246"/>
                  </a:cubicBezTo>
                  <a:cubicBezTo>
                    <a:pt x="1233026" y="3751517"/>
                    <a:pt x="1218595" y="3715042"/>
                    <a:pt x="1192153" y="3688071"/>
                  </a:cubicBezTo>
                  <a:cubicBezTo>
                    <a:pt x="1165710" y="3661090"/>
                    <a:pt x="1129549" y="3645894"/>
                    <a:pt x="1091810" y="3645894"/>
                  </a:cubicBezTo>
                  <a:cubicBezTo>
                    <a:pt x="1054042" y="3645894"/>
                    <a:pt x="1017871" y="3661090"/>
                    <a:pt x="991429" y="3688071"/>
                  </a:cubicBezTo>
                  <a:cubicBezTo>
                    <a:pt x="965025" y="3715042"/>
                    <a:pt x="950555" y="3751517"/>
                    <a:pt x="951319" y="3789246"/>
                  </a:cubicBezTo>
                  <a:close/>
                </a:path>
              </a:pathLst>
            </a:custGeom>
            <a:solidFill>
              <a:srgbClr val="1F4CB9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9853C27A-3E73-776A-0CCE-5501F4B412A6}"/>
                </a:ext>
              </a:extLst>
            </p:cNvPr>
            <p:cNvSpPr/>
            <p:nvPr/>
          </p:nvSpPr>
          <p:spPr>
            <a:xfrm>
              <a:off x="4208772" y="4742328"/>
              <a:ext cx="358725" cy="358726"/>
            </a:xfrm>
            <a:custGeom>
              <a:avLst/>
              <a:gdLst>
                <a:gd name="connsiteX0" fmla="*/ 1219078 w 5195299"/>
                <a:gd name="connsiteY0" fmla="*/ 3168695 h 5195321"/>
                <a:gd name="connsiteX1" fmla="*/ 1149195 w 5195299"/>
                <a:gd name="connsiteY1" fmla="*/ 3521353 h 5195321"/>
                <a:gd name="connsiteX2" fmla="*/ 1149195 w 5195299"/>
                <a:gd name="connsiteY2" fmla="*/ 3792224 h 5195321"/>
                <a:gd name="connsiteX3" fmla="*/ 1403117 w 5195299"/>
                <a:gd name="connsiteY3" fmla="*/ 4046146 h 5195321"/>
                <a:gd name="connsiteX4" fmla="*/ 1538553 w 5195299"/>
                <a:gd name="connsiteY4" fmla="*/ 4102254 h 5195321"/>
                <a:gd name="connsiteX5" fmla="*/ 1673988 w 5195299"/>
                <a:gd name="connsiteY5" fmla="*/ 4046146 h 5195321"/>
                <a:gd name="connsiteX6" fmla="*/ 2026764 w 5195299"/>
                <a:gd name="connsiteY6" fmla="*/ 3975959 h 5195321"/>
                <a:gd name="connsiteX7" fmla="*/ 2226606 w 5195299"/>
                <a:gd name="connsiteY7" fmla="*/ 4275037 h 5195321"/>
                <a:gd name="connsiteX8" fmla="*/ 2418189 w 5195299"/>
                <a:gd name="connsiteY8" fmla="*/ 4466620 h 5195321"/>
                <a:gd name="connsiteX9" fmla="*/ 2777274 w 5195299"/>
                <a:gd name="connsiteY9" fmla="*/ 4466620 h 5195321"/>
                <a:gd name="connsiteX10" fmla="*/ 2968857 w 5195299"/>
                <a:gd name="connsiteY10" fmla="*/ 4275037 h 5195321"/>
                <a:gd name="connsiteX11" fmla="*/ 3168817 w 5195299"/>
                <a:gd name="connsiteY11" fmla="*/ 3976263 h 5195321"/>
                <a:gd name="connsiteX12" fmla="*/ 3521475 w 5195299"/>
                <a:gd name="connsiteY12" fmla="*/ 4046146 h 5195321"/>
                <a:gd name="connsiteX13" fmla="*/ 3656911 w 5195299"/>
                <a:gd name="connsiteY13" fmla="*/ 4102245 h 5195321"/>
                <a:gd name="connsiteX14" fmla="*/ 3792346 w 5195299"/>
                <a:gd name="connsiteY14" fmla="*/ 4046146 h 5195321"/>
                <a:gd name="connsiteX15" fmla="*/ 4046269 w 5195299"/>
                <a:gd name="connsiteY15" fmla="*/ 3792224 h 5195321"/>
                <a:gd name="connsiteX16" fmla="*/ 4046269 w 5195299"/>
                <a:gd name="connsiteY16" fmla="*/ 3521353 h 5195321"/>
                <a:gd name="connsiteX17" fmla="*/ 3976386 w 5195299"/>
                <a:gd name="connsiteY17" fmla="*/ 3168695 h 5195321"/>
                <a:gd name="connsiteX18" fmla="*/ 4275160 w 5195299"/>
                <a:gd name="connsiteY18" fmla="*/ 2968735 h 5195321"/>
                <a:gd name="connsiteX19" fmla="*/ 4466743 w 5195299"/>
                <a:gd name="connsiteY19" fmla="*/ 2777152 h 5195321"/>
                <a:gd name="connsiteX20" fmla="*/ 4466743 w 5195299"/>
                <a:gd name="connsiteY20" fmla="*/ 2418067 h 5195321"/>
                <a:gd name="connsiteX21" fmla="*/ 4275160 w 5195299"/>
                <a:gd name="connsiteY21" fmla="*/ 2226484 h 5195321"/>
                <a:gd name="connsiteX22" fmla="*/ 3976386 w 5195299"/>
                <a:gd name="connsiteY22" fmla="*/ 2026524 h 5195321"/>
                <a:gd name="connsiteX23" fmla="*/ 4046269 w 5195299"/>
                <a:gd name="connsiteY23" fmla="*/ 1673866 h 5195321"/>
                <a:gd name="connsiteX24" fmla="*/ 4046269 w 5195299"/>
                <a:gd name="connsiteY24" fmla="*/ 1402994 h 5195321"/>
                <a:gd name="connsiteX25" fmla="*/ 3792346 w 5195299"/>
                <a:gd name="connsiteY25" fmla="*/ 1149072 h 5195321"/>
                <a:gd name="connsiteX26" fmla="*/ 3656911 w 5195299"/>
                <a:gd name="connsiteY26" fmla="*/ 1092964 h 5195321"/>
                <a:gd name="connsiteX27" fmla="*/ 3521475 w 5195299"/>
                <a:gd name="connsiteY27" fmla="*/ 1149072 h 5195321"/>
                <a:gd name="connsiteX28" fmla="*/ 3168817 w 5195299"/>
                <a:gd name="connsiteY28" fmla="*/ 1218955 h 5195321"/>
                <a:gd name="connsiteX29" fmla="*/ 2968857 w 5195299"/>
                <a:gd name="connsiteY29" fmla="*/ 920181 h 5195321"/>
                <a:gd name="connsiteX30" fmla="*/ 2777274 w 5195299"/>
                <a:gd name="connsiteY30" fmla="*/ 728593 h 5195321"/>
                <a:gd name="connsiteX31" fmla="*/ 2418189 w 5195299"/>
                <a:gd name="connsiteY31" fmla="*/ 728593 h 5195321"/>
                <a:gd name="connsiteX32" fmla="*/ 2226606 w 5195299"/>
                <a:gd name="connsiteY32" fmla="*/ 920181 h 5195321"/>
                <a:gd name="connsiteX33" fmla="*/ 2026647 w 5195299"/>
                <a:gd name="connsiteY33" fmla="*/ 1218955 h 5195321"/>
                <a:gd name="connsiteX34" fmla="*/ 1673988 w 5195299"/>
                <a:gd name="connsiteY34" fmla="*/ 1149072 h 5195321"/>
                <a:gd name="connsiteX35" fmla="*/ 1403117 w 5195299"/>
                <a:gd name="connsiteY35" fmla="*/ 1149072 h 5195321"/>
                <a:gd name="connsiteX36" fmla="*/ 1149195 w 5195299"/>
                <a:gd name="connsiteY36" fmla="*/ 1402994 h 5195321"/>
                <a:gd name="connsiteX37" fmla="*/ 1149195 w 5195299"/>
                <a:gd name="connsiteY37" fmla="*/ 1673866 h 5195321"/>
                <a:gd name="connsiteX38" fmla="*/ 1219078 w 5195299"/>
                <a:gd name="connsiteY38" fmla="*/ 2026524 h 5195321"/>
                <a:gd name="connsiteX39" fmla="*/ 920304 w 5195299"/>
                <a:gd name="connsiteY39" fmla="*/ 2226484 h 5195321"/>
                <a:gd name="connsiteX40" fmla="*/ 728721 w 5195299"/>
                <a:gd name="connsiteY40" fmla="*/ 2418067 h 5195321"/>
                <a:gd name="connsiteX41" fmla="*/ 728721 w 5195299"/>
                <a:gd name="connsiteY41" fmla="*/ 2777152 h 5195321"/>
                <a:gd name="connsiteX42" fmla="*/ 920304 w 5195299"/>
                <a:gd name="connsiteY42" fmla="*/ 2968735 h 5195321"/>
                <a:gd name="connsiteX43" fmla="*/ 1219078 w 5195299"/>
                <a:gd name="connsiteY43" fmla="*/ 3168695 h 5195321"/>
                <a:gd name="connsiteX44" fmla="*/ 876021 w 5195299"/>
                <a:gd name="connsiteY44" fmla="*/ 2777191 h 5195321"/>
                <a:gd name="connsiteX45" fmla="*/ 876021 w 5195299"/>
                <a:gd name="connsiteY45" fmla="*/ 2418106 h 5195321"/>
                <a:gd name="connsiteX46" fmla="*/ 920294 w 5195299"/>
                <a:gd name="connsiteY46" fmla="*/ 2373833 h 5195321"/>
                <a:gd name="connsiteX47" fmla="*/ 1355091 w 5195299"/>
                <a:gd name="connsiteY47" fmla="*/ 2082965 h 5195321"/>
                <a:gd name="connsiteX48" fmla="*/ 1253280 w 5195299"/>
                <a:gd name="connsiteY48" fmla="*/ 1569801 h 5195321"/>
                <a:gd name="connsiteX49" fmla="*/ 1253280 w 5195299"/>
                <a:gd name="connsiteY49" fmla="*/ 1507119 h 5195321"/>
                <a:gd name="connsiteX50" fmla="*/ 1507202 w 5195299"/>
                <a:gd name="connsiteY50" fmla="*/ 1253196 h 5195321"/>
                <a:gd name="connsiteX51" fmla="*/ 1538514 w 5195299"/>
                <a:gd name="connsiteY51" fmla="*/ 1240225 h 5195321"/>
                <a:gd name="connsiteX52" fmla="*/ 1569816 w 5195299"/>
                <a:gd name="connsiteY52" fmla="*/ 1253196 h 5195321"/>
                <a:gd name="connsiteX53" fmla="*/ 2082980 w 5195299"/>
                <a:gd name="connsiteY53" fmla="*/ 1354998 h 5195321"/>
                <a:gd name="connsiteX54" fmla="*/ 2373838 w 5195299"/>
                <a:gd name="connsiteY54" fmla="*/ 920211 h 5195321"/>
                <a:gd name="connsiteX55" fmla="*/ 2418121 w 5195299"/>
                <a:gd name="connsiteY55" fmla="*/ 875938 h 5195321"/>
                <a:gd name="connsiteX56" fmla="*/ 2777206 w 5195299"/>
                <a:gd name="connsiteY56" fmla="*/ 875938 h 5195321"/>
                <a:gd name="connsiteX57" fmla="*/ 2821479 w 5195299"/>
                <a:gd name="connsiteY57" fmla="*/ 920211 h 5195321"/>
                <a:gd name="connsiteX58" fmla="*/ 3112337 w 5195299"/>
                <a:gd name="connsiteY58" fmla="*/ 1354998 h 5195321"/>
                <a:gd name="connsiteX59" fmla="*/ 3625501 w 5195299"/>
                <a:gd name="connsiteY59" fmla="*/ 1253196 h 5195321"/>
                <a:gd name="connsiteX60" fmla="*/ 3656803 w 5195299"/>
                <a:gd name="connsiteY60" fmla="*/ 1240225 h 5195321"/>
                <a:gd name="connsiteX61" fmla="*/ 3688115 w 5195299"/>
                <a:gd name="connsiteY61" fmla="*/ 1253196 h 5195321"/>
                <a:gd name="connsiteX62" fmla="*/ 3942037 w 5195299"/>
                <a:gd name="connsiteY62" fmla="*/ 1507119 h 5195321"/>
                <a:gd name="connsiteX63" fmla="*/ 3942037 w 5195299"/>
                <a:gd name="connsiteY63" fmla="*/ 1569801 h 5195321"/>
                <a:gd name="connsiteX64" fmla="*/ 3840235 w 5195299"/>
                <a:gd name="connsiteY64" fmla="*/ 2082965 h 5195321"/>
                <a:gd name="connsiteX65" fmla="*/ 4275023 w 5195299"/>
                <a:gd name="connsiteY65" fmla="*/ 2373833 h 5195321"/>
                <a:gd name="connsiteX66" fmla="*/ 4319296 w 5195299"/>
                <a:gd name="connsiteY66" fmla="*/ 2418106 h 5195321"/>
                <a:gd name="connsiteX67" fmla="*/ 4319296 w 5195299"/>
                <a:gd name="connsiteY67" fmla="*/ 2777191 h 5195321"/>
                <a:gd name="connsiteX68" fmla="*/ 4275023 w 5195299"/>
                <a:gd name="connsiteY68" fmla="*/ 2821474 h 5195321"/>
                <a:gd name="connsiteX69" fmla="*/ 3840235 w 5195299"/>
                <a:gd name="connsiteY69" fmla="*/ 3112322 h 5195321"/>
                <a:gd name="connsiteX70" fmla="*/ 3942037 w 5195299"/>
                <a:gd name="connsiteY70" fmla="*/ 3625486 h 5195321"/>
                <a:gd name="connsiteX71" fmla="*/ 3955008 w 5195299"/>
                <a:gd name="connsiteY71" fmla="*/ 3656798 h 5195321"/>
                <a:gd name="connsiteX72" fmla="*/ 3942037 w 5195299"/>
                <a:gd name="connsiteY72" fmla="*/ 3688100 h 5195321"/>
                <a:gd name="connsiteX73" fmla="*/ 3688115 w 5195299"/>
                <a:gd name="connsiteY73" fmla="*/ 3942022 h 5195321"/>
                <a:gd name="connsiteX74" fmla="*/ 3656803 w 5195299"/>
                <a:gd name="connsiteY74" fmla="*/ 3954994 h 5195321"/>
                <a:gd name="connsiteX75" fmla="*/ 3625501 w 5195299"/>
                <a:gd name="connsiteY75" fmla="*/ 3942022 h 5195321"/>
                <a:gd name="connsiteX76" fmla="*/ 3112337 w 5195299"/>
                <a:gd name="connsiteY76" fmla="*/ 3840220 h 5195321"/>
                <a:gd name="connsiteX77" fmla="*/ 2821479 w 5195299"/>
                <a:gd name="connsiteY77" fmla="*/ 4275008 h 5195321"/>
                <a:gd name="connsiteX78" fmla="*/ 2777206 w 5195299"/>
                <a:gd name="connsiteY78" fmla="*/ 4319291 h 5195321"/>
                <a:gd name="connsiteX79" fmla="*/ 2418121 w 5195299"/>
                <a:gd name="connsiteY79" fmla="*/ 4319291 h 5195321"/>
                <a:gd name="connsiteX80" fmla="*/ 2373838 w 5195299"/>
                <a:gd name="connsiteY80" fmla="*/ 4275008 h 5195321"/>
                <a:gd name="connsiteX81" fmla="*/ 2083098 w 5195299"/>
                <a:gd name="connsiteY81" fmla="*/ 3839916 h 5195321"/>
                <a:gd name="connsiteX82" fmla="*/ 1899862 w 5195299"/>
                <a:gd name="connsiteY82" fmla="*/ 3802873 h 5195321"/>
                <a:gd name="connsiteX83" fmla="*/ 1569816 w 5195299"/>
                <a:gd name="connsiteY83" fmla="*/ 3942022 h 5195321"/>
                <a:gd name="connsiteX84" fmla="*/ 1538514 w 5195299"/>
                <a:gd name="connsiteY84" fmla="*/ 3954994 h 5195321"/>
                <a:gd name="connsiteX85" fmla="*/ 1507202 w 5195299"/>
                <a:gd name="connsiteY85" fmla="*/ 3942022 h 5195321"/>
                <a:gd name="connsiteX86" fmla="*/ 1253280 w 5195299"/>
                <a:gd name="connsiteY86" fmla="*/ 3688100 h 5195321"/>
                <a:gd name="connsiteX87" fmla="*/ 1240308 w 5195299"/>
                <a:gd name="connsiteY87" fmla="*/ 3656798 h 5195321"/>
                <a:gd name="connsiteX88" fmla="*/ 1253280 w 5195299"/>
                <a:gd name="connsiteY88" fmla="*/ 3625486 h 5195321"/>
                <a:gd name="connsiteX89" fmla="*/ 1355091 w 5195299"/>
                <a:gd name="connsiteY89" fmla="*/ 3112322 h 5195321"/>
                <a:gd name="connsiteX90" fmla="*/ 920294 w 5195299"/>
                <a:gd name="connsiteY90" fmla="*/ 2821464 h 5195321"/>
                <a:gd name="connsiteX91" fmla="*/ 876021 w 5195299"/>
                <a:gd name="connsiteY91" fmla="*/ 2777191 h 5195321"/>
                <a:gd name="connsiteX92" fmla="*/ 700280 w 5195299"/>
                <a:gd name="connsiteY92" fmla="*/ 4148497 h 5195321"/>
                <a:gd name="connsiteX93" fmla="*/ 689983 w 5195299"/>
                <a:gd name="connsiteY93" fmla="*/ 4252092 h 5195321"/>
                <a:gd name="connsiteX94" fmla="*/ 643339 w 5195299"/>
                <a:gd name="connsiteY94" fmla="*/ 4268776 h 5195321"/>
                <a:gd name="connsiteX95" fmla="*/ 586349 w 5195299"/>
                <a:gd name="connsiteY95" fmla="*/ 4241795 h 5195321"/>
                <a:gd name="connsiteX96" fmla="*/ 2842 w 5195299"/>
                <a:gd name="connsiteY96" fmla="*/ 2475860 h 5195321"/>
                <a:gd name="connsiteX97" fmla="*/ 760816 w 5195299"/>
                <a:gd name="connsiteY97" fmla="*/ 760872 h 5195321"/>
                <a:gd name="connsiteX98" fmla="*/ 2475806 w 5195299"/>
                <a:gd name="connsiteY98" fmla="*/ 2857 h 5195321"/>
                <a:gd name="connsiteX99" fmla="*/ 4075680 w 5195299"/>
                <a:gd name="connsiteY99" fmla="*/ 461099 h 5195321"/>
                <a:gd name="connsiteX100" fmla="*/ 4013380 w 5195299"/>
                <a:gd name="connsiteY100" fmla="*/ 201132 h 5195321"/>
                <a:gd name="connsiteX101" fmla="*/ 4067793 w 5195299"/>
                <a:gd name="connsiteY101" fmla="*/ 112384 h 5195321"/>
                <a:gd name="connsiteX102" fmla="*/ 4156545 w 5195299"/>
                <a:gd name="connsiteY102" fmla="*/ 166804 h 5195321"/>
                <a:gd name="connsiteX103" fmla="*/ 4266460 w 5195299"/>
                <a:gd name="connsiteY103" fmla="*/ 625398 h 5195321"/>
                <a:gd name="connsiteX104" fmla="*/ 4267880 w 5195299"/>
                <a:gd name="connsiteY104" fmla="*/ 632784 h 5195321"/>
                <a:gd name="connsiteX105" fmla="*/ 4267880 w 5195299"/>
                <a:gd name="connsiteY105" fmla="*/ 632822 h 5195321"/>
                <a:gd name="connsiteX106" fmla="*/ 4268566 w 5195299"/>
                <a:gd name="connsiteY106" fmla="*/ 640361 h 5195321"/>
                <a:gd name="connsiteX107" fmla="*/ 4252832 w 5195299"/>
                <a:gd name="connsiteY107" fmla="*/ 688811 h 5195321"/>
                <a:gd name="connsiteX108" fmla="*/ 4250657 w 5195299"/>
                <a:gd name="connsiteY108" fmla="*/ 691453 h 5195321"/>
                <a:gd name="connsiteX109" fmla="*/ 4206609 w 5195299"/>
                <a:gd name="connsiteY109" fmla="*/ 715984 h 5195321"/>
                <a:gd name="connsiteX110" fmla="*/ 4199790 w 5195299"/>
                <a:gd name="connsiteY110" fmla="*/ 716711 h 5195321"/>
                <a:gd name="connsiteX111" fmla="*/ 4199683 w 5195299"/>
                <a:gd name="connsiteY111" fmla="*/ 716711 h 5195321"/>
                <a:gd name="connsiteX112" fmla="*/ 4197576 w 5195299"/>
                <a:gd name="connsiteY112" fmla="*/ 716825 h 5195321"/>
                <a:gd name="connsiteX113" fmla="*/ 3725863 w 5195299"/>
                <a:gd name="connsiteY113" fmla="*/ 735616 h 5195321"/>
                <a:gd name="connsiteX114" fmla="*/ 3649396 w 5195299"/>
                <a:gd name="connsiteY114" fmla="*/ 664970 h 5195321"/>
                <a:gd name="connsiteX115" fmla="*/ 3720043 w 5195299"/>
                <a:gd name="connsiteY115" fmla="*/ 588506 h 5195321"/>
                <a:gd name="connsiteX116" fmla="*/ 3986134 w 5195299"/>
                <a:gd name="connsiteY116" fmla="*/ 577867 h 5195321"/>
                <a:gd name="connsiteX117" fmla="*/ 864862 w 5195299"/>
                <a:gd name="connsiteY117" fmla="*/ 864975 h 5195321"/>
                <a:gd name="connsiteX118" fmla="*/ 700153 w 5195299"/>
                <a:gd name="connsiteY118" fmla="*/ 4148487 h 5195321"/>
                <a:gd name="connsiteX119" fmla="*/ 5192466 w 5195299"/>
                <a:gd name="connsiteY119" fmla="*/ 2719486 h 5195321"/>
                <a:gd name="connsiteX120" fmla="*/ 4434490 w 5195299"/>
                <a:gd name="connsiteY120" fmla="*/ 4434476 h 5195321"/>
                <a:gd name="connsiteX121" fmla="*/ 2719500 w 5195299"/>
                <a:gd name="connsiteY121" fmla="*/ 5192451 h 5195321"/>
                <a:gd name="connsiteX122" fmla="*/ 2597154 w 5195299"/>
                <a:gd name="connsiteY122" fmla="*/ 5195322 h 5195321"/>
                <a:gd name="connsiteX123" fmla="*/ 1119549 w 5195299"/>
                <a:gd name="connsiteY123" fmla="*/ 4734249 h 5195321"/>
                <a:gd name="connsiteX124" fmla="*/ 1181849 w 5195299"/>
                <a:gd name="connsiteY124" fmla="*/ 4994216 h 5195321"/>
                <a:gd name="connsiteX125" fmla="*/ 1127435 w 5195299"/>
                <a:gd name="connsiteY125" fmla="*/ 5082968 h 5195321"/>
                <a:gd name="connsiteX126" fmla="*/ 1038683 w 5195299"/>
                <a:gd name="connsiteY126" fmla="*/ 5028545 h 5195321"/>
                <a:gd name="connsiteX127" fmla="*/ 928769 w 5195299"/>
                <a:gd name="connsiteY127" fmla="*/ 4569950 h 5195321"/>
                <a:gd name="connsiteX128" fmla="*/ 927358 w 5195299"/>
                <a:gd name="connsiteY128" fmla="*/ 4562750 h 5195321"/>
                <a:gd name="connsiteX129" fmla="*/ 926623 w 5195299"/>
                <a:gd name="connsiteY129" fmla="*/ 4554990 h 5195321"/>
                <a:gd name="connsiteX130" fmla="*/ 943161 w 5195299"/>
                <a:gd name="connsiteY130" fmla="*/ 4505426 h 5195321"/>
                <a:gd name="connsiteX131" fmla="*/ 943200 w 5195299"/>
                <a:gd name="connsiteY131" fmla="*/ 4505387 h 5195321"/>
                <a:gd name="connsiteX132" fmla="*/ 943239 w 5195299"/>
                <a:gd name="connsiteY132" fmla="*/ 4505348 h 5195321"/>
                <a:gd name="connsiteX133" fmla="*/ 943278 w 5195299"/>
                <a:gd name="connsiteY133" fmla="*/ 4505231 h 5195321"/>
                <a:gd name="connsiteX134" fmla="*/ 943308 w 5195299"/>
                <a:gd name="connsiteY134" fmla="*/ 4505191 h 5195321"/>
                <a:gd name="connsiteX135" fmla="*/ 943347 w 5195299"/>
                <a:gd name="connsiteY135" fmla="*/ 4505162 h 5195321"/>
                <a:gd name="connsiteX136" fmla="*/ 943386 w 5195299"/>
                <a:gd name="connsiteY136" fmla="*/ 4505123 h 5195321"/>
                <a:gd name="connsiteX137" fmla="*/ 943425 w 5195299"/>
                <a:gd name="connsiteY137" fmla="*/ 4505084 h 5195321"/>
                <a:gd name="connsiteX138" fmla="*/ 988972 w 5195299"/>
                <a:gd name="connsiteY138" fmla="*/ 4479405 h 5195321"/>
                <a:gd name="connsiteX139" fmla="*/ 989080 w 5195299"/>
                <a:gd name="connsiteY139" fmla="*/ 4479405 h 5195321"/>
                <a:gd name="connsiteX140" fmla="*/ 994214 w 5195299"/>
                <a:gd name="connsiteY140" fmla="*/ 4478827 h 5195321"/>
                <a:gd name="connsiteX141" fmla="*/ 994322 w 5195299"/>
                <a:gd name="connsiteY141" fmla="*/ 4478827 h 5195321"/>
                <a:gd name="connsiteX142" fmla="*/ 997427 w 5195299"/>
                <a:gd name="connsiteY142" fmla="*/ 4478671 h 5195321"/>
                <a:gd name="connsiteX143" fmla="*/ 1469071 w 5195299"/>
                <a:gd name="connsiteY143" fmla="*/ 4459880 h 5195321"/>
                <a:gd name="connsiteX144" fmla="*/ 1545538 w 5195299"/>
                <a:gd name="connsiteY144" fmla="*/ 4530527 h 5195321"/>
                <a:gd name="connsiteX145" fmla="*/ 1474891 w 5195299"/>
                <a:gd name="connsiteY145" fmla="*/ 4606993 h 5195321"/>
                <a:gd name="connsiteX146" fmla="*/ 1208801 w 5195299"/>
                <a:gd name="connsiteY146" fmla="*/ 4617633 h 5195321"/>
                <a:gd name="connsiteX147" fmla="*/ 2597056 w 5195299"/>
                <a:gd name="connsiteY147" fmla="*/ 5051803 h 5195321"/>
                <a:gd name="connsiteX148" fmla="*/ 4330072 w 5195299"/>
                <a:gd name="connsiteY148" fmla="*/ 4330645 h 5195321"/>
                <a:gd name="connsiteX149" fmla="*/ 4494782 w 5195299"/>
                <a:gd name="connsiteY149" fmla="*/ 1047133 h 5195321"/>
                <a:gd name="connsiteX150" fmla="*/ 4505069 w 5195299"/>
                <a:gd name="connsiteY150" fmla="*/ 943538 h 5195321"/>
                <a:gd name="connsiteX151" fmla="*/ 4608674 w 5195299"/>
                <a:gd name="connsiteY151" fmla="*/ 953835 h 5195321"/>
                <a:gd name="connsiteX152" fmla="*/ 5192446 w 5195299"/>
                <a:gd name="connsiteY152" fmla="*/ 2719476 h 5195321"/>
                <a:gd name="connsiteX153" fmla="*/ 2597693 w 5195299"/>
                <a:gd name="connsiteY153" fmla="*/ 3533873 h 5195321"/>
                <a:gd name="connsiteX154" fmla="*/ 3533927 w 5195299"/>
                <a:gd name="connsiteY154" fmla="*/ 2597639 h 5195321"/>
                <a:gd name="connsiteX155" fmla="*/ 2597693 w 5195299"/>
                <a:gd name="connsiteY155" fmla="*/ 1661365 h 5195321"/>
                <a:gd name="connsiteX156" fmla="*/ 1661458 w 5195299"/>
                <a:gd name="connsiteY156" fmla="*/ 2597639 h 5195321"/>
                <a:gd name="connsiteX157" fmla="*/ 2597693 w 5195299"/>
                <a:gd name="connsiteY157" fmla="*/ 3533873 h 5195321"/>
                <a:gd name="connsiteX158" fmla="*/ 2597693 w 5195299"/>
                <a:gd name="connsiteY158" fmla="*/ 1808596 h 5195321"/>
                <a:gd name="connsiteX159" fmla="*/ 3386706 w 5195299"/>
                <a:gd name="connsiteY159" fmla="*/ 2597609 h 5195321"/>
                <a:gd name="connsiteX160" fmla="*/ 2597693 w 5195299"/>
                <a:gd name="connsiteY160" fmla="*/ 3386622 h 5195321"/>
                <a:gd name="connsiteX161" fmla="*/ 1808680 w 5195299"/>
                <a:gd name="connsiteY161" fmla="*/ 2597609 h 5195321"/>
                <a:gd name="connsiteX162" fmla="*/ 2597693 w 5195299"/>
                <a:gd name="connsiteY162" fmla="*/ 1808596 h 5195321"/>
                <a:gd name="connsiteX163" fmla="*/ 2292179 w 5195299"/>
                <a:gd name="connsiteY163" fmla="*/ 2394318 h 5195321"/>
                <a:gd name="connsiteX164" fmla="*/ 2522833 w 5195299"/>
                <a:gd name="connsiteY164" fmla="*/ 2122105 h 5195321"/>
                <a:gd name="connsiteX165" fmla="*/ 2521412 w 5195299"/>
                <a:gd name="connsiteY165" fmla="*/ 2061294 h 5195321"/>
                <a:gd name="connsiteX166" fmla="*/ 2593245 w 5195299"/>
                <a:gd name="connsiteY166" fmla="*/ 1985905 h 5195321"/>
                <a:gd name="connsiteX167" fmla="*/ 2668644 w 5195299"/>
                <a:gd name="connsiteY167" fmla="*/ 2057738 h 5195321"/>
                <a:gd name="connsiteX168" fmla="*/ 2670250 w 5195299"/>
                <a:gd name="connsiteY168" fmla="*/ 2123907 h 5195321"/>
                <a:gd name="connsiteX169" fmla="*/ 2865086 w 5195299"/>
                <a:gd name="connsiteY169" fmla="*/ 2242433 h 5195321"/>
                <a:gd name="connsiteX170" fmla="*/ 2844003 w 5195299"/>
                <a:gd name="connsiteY170" fmla="*/ 2344382 h 5195321"/>
                <a:gd name="connsiteX171" fmla="*/ 2742053 w 5195299"/>
                <a:gd name="connsiteY171" fmla="*/ 2323289 h 5195321"/>
                <a:gd name="connsiteX172" fmla="*/ 2597810 w 5195299"/>
                <a:gd name="connsiteY172" fmla="*/ 2260764 h 5195321"/>
                <a:gd name="connsiteX173" fmla="*/ 2439488 w 5195299"/>
                <a:gd name="connsiteY173" fmla="*/ 2394240 h 5195321"/>
                <a:gd name="connsiteX174" fmla="*/ 2597810 w 5195299"/>
                <a:gd name="connsiteY174" fmla="*/ 2527726 h 5195321"/>
                <a:gd name="connsiteX175" fmla="*/ 2903324 w 5195299"/>
                <a:gd name="connsiteY175" fmla="*/ 2808434 h 5195321"/>
                <a:gd name="connsiteX176" fmla="*/ 2672827 w 5195299"/>
                <a:gd name="connsiteY176" fmla="*/ 3080579 h 5195321"/>
                <a:gd name="connsiteX177" fmla="*/ 2674120 w 5195299"/>
                <a:gd name="connsiteY177" fmla="*/ 3133768 h 5195321"/>
                <a:gd name="connsiteX178" fmla="*/ 2602287 w 5195299"/>
                <a:gd name="connsiteY178" fmla="*/ 3209166 h 5195321"/>
                <a:gd name="connsiteX179" fmla="*/ 2600456 w 5195299"/>
                <a:gd name="connsiteY179" fmla="*/ 3209166 h 5195321"/>
                <a:gd name="connsiteX180" fmla="*/ 2526898 w 5195299"/>
                <a:gd name="connsiteY180" fmla="*/ 3137334 h 5195321"/>
                <a:gd name="connsiteX181" fmla="*/ 2525595 w 5195299"/>
                <a:gd name="connsiteY181" fmla="*/ 3081872 h 5195321"/>
                <a:gd name="connsiteX182" fmla="*/ 2353224 w 5195299"/>
                <a:gd name="connsiteY182" fmla="*/ 2980031 h 5195321"/>
                <a:gd name="connsiteX183" fmla="*/ 2350207 w 5195299"/>
                <a:gd name="connsiteY183" fmla="*/ 2875975 h 5195321"/>
                <a:gd name="connsiteX184" fmla="*/ 2454262 w 5195299"/>
                <a:gd name="connsiteY184" fmla="*/ 2872958 h 5195321"/>
                <a:gd name="connsiteX185" fmla="*/ 2597771 w 5195299"/>
                <a:gd name="connsiteY185" fmla="*/ 2941881 h 5195321"/>
                <a:gd name="connsiteX186" fmla="*/ 2756093 w 5195299"/>
                <a:gd name="connsiteY186" fmla="*/ 2808395 h 5195321"/>
                <a:gd name="connsiteX187" fmla="*/ 2597771 w 5195299"/>
                <a:gd name="connsiteY187" fmla="*/ 2674909 h 5195321"/>
                <a:gd name="connsiteX188" fmla="*/ 2292188 w 5195299"/>
                <a:gd name="connsiteY188" fmla="*/ 2394309 h 5195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5195299" h="5195321">
                  <a:moveTo>
                    <a:pt x="1219078" y="3168695"/>
                  </a:moveTo>
                  <a:cubicBezTo>
                    <a:pt x="1259148" y="3265402"/>
                    <a:pt x="1261784" y="3408764"/>
                    <a:pt x="1149195" y="3521353"/>
                  </a:cubicBezTo>
                  <a:cubicBezTo>
                    <a:pt x="1074492" y="3596056"/>
                    <a:pt x="1074492" y="3717560"/>
                    <a:pt x="1149195" y="3792224"/>
                  </a:cubicBezTo>
                  <a:lnTo>
                    <a:pt x="1403117" y="4046146"/>
                  </a:lnTo>
                  <a:cubicBezTo>
                    <a:pt x="1439288" y="4082307"/>
                    <a:pt x="1487431" y="4102254"/>
                    <a:pt x="1538553" y="4102254"/>
                  </a:cubicBezTo>
                  <a:cubicBezTo>
                    <a:pt x="1589723" y="4102254"/>
                    <a:pt x="1637827" y="4082307"/>
                    <a:pt x="1673988" y="4046146"/>
                  </a:cubicBezTo>
                  <a:cubicBezTo>
                    <a:pt x="1786734" y="3933401"/>
                    <a:pt x="1930135" y="3935967"/>
                    <a:pt x="2026764" y="3975959"/>
                  </a:cubicBezTo>
                  <a:cubicBezTo>
                    <a:pt x="2123364" y="4015951"/>
                    <a:pt x="2226606" y="4115569"/>
                    <a:pt x="2226606" y="4275037"/>
                  </a:cubicBezTo>
                  <a:cubicBezTo>
                    <a:pt x="2226606" y="4380660"/>
                    <a:pt x="2312566" y="4466620"/>
                    <a:pt x="2418189" y="4466620"/>
                  </a:cubicBezTo>
                  <a:lnTo>
                    <a:pt x="2777274" y="4466620"/>
                  </a:lnTo>
                  <a:cubicBezTo>
                    <a:pt x="2882897" y="4466620"/>
                    <a:pt x="2968857" y="4380660"/>
                    <a:pt x="2968857" y="4275037"/>
                  </a:cubicBezTo>
                  <a:cubicBezTo>
                    <a:pt x="2968857" y="4115833"/>
                    <a:pt x="3072110" y="4016333"/>
                    <a:pt x="3168817" y="3976263"/>
                  </a:cubicBezTo>
                  <a:cubicBezTo>
                    <a:pt x="3265525" y="3936193"/>
                    <a:pt x="3408886" y="3933548"/>
                    <a:pt x="3521475" y="4046146"/>
                  </a:cubicBezTo>
                  <a:cubicBezTo>
                    <a:pt x="3557646" y="4082307"/>
                    <a:pt x="3605789" y="4102245"/>
                    <a:pt x="3656911" y="4102245"/>
                  </a:cubicBezTo>
                  <a:cubicBezTo>
                    <a:pt x="3708081" y="4102245"/>
                    <a:pt x="3756185" y="4082307"/>
                    <a:pt x="3792346" y="4046146"/>
                  </a:cubicBezTo>
                  <a:lnTo>
                    <a:pt x="4046269" y="3792224"/>
                  </a:lnTo>
                  <a:cubicBezTo>
                    <a:pt x="4120972" y="3717521"/>
                    <a:pt x="4120972" y="3596017"/>
                    <a:pt x="4046269" y="3521353"/>
                  </a:cubicBezTo>
                  <a:cubicBezTo>
                    <a:pt x="3933680" y="3408764"/>
                    <a:pt x="3936355" y="3265324"/>
                    <a:pt x="3976386" y="3168695"/>
                  </a:cubicBezTo>
                  <a:cubicBezTo>
                    <a:pt x="4016456" y="3072055"/>
                    <a:pt x="4115956" y="2968735"/>
                    <a:pt x="4275160" y="2968735"/>
                  </a:cubicBezTo>
                  <a:cubicBezTo>
                    <a:pt x="4380783" y="2968735"/>
                    <a:pt x="4466743" y="2882775"/>
                    <a:pt x="4466743" y="2777152"/>
                  </a:cubicBezTo>
                  <a:lnTo>
                    <a:pt x="4466743" y="2418067"/>
                  </a:lnTo>
                  <a:cubicBezTo>
                    <a:pt x="4466743" y="2312444"/>
                    <a:pt x="4380792" y="2226484"/>
                    <a:pt x="4275160" y="2226484"/>
                  </a:cubicBezTo>
                  <a:cubicBezTo>
                    <a:pt x="4115956" y="2226484"/>
                    <a:pt x="4016378" y="2123231"/>
                    <a:pt x="3976386" y="2026524"/>
                  </a:cubicBezTo>
                  <a:cubicBezTo>
                    <a:pt x="3936325" y="1929816"/>
                    <a:pt x="3933680" y="1786455"/>
                    <a:pt x="4046269" y="1673866"/>
                  </a:cubicBezTo>
                  <a:cubicBezTo>
                    <a:pt x="4120972" y="1599163"/>
                    <a:pt x="4120972" y="1477659"/>
                    <a:pt x="4046269" y="1402994"/>
                  </a:cubicBezTo>
                  <a:lnTo>
                    <a:pt x="3792346" y="1149072"/>
                  </a:lnTo>
                  <a:cubicBezTo>
                    <a:pt x="3756185" y="1112901"/>
                    <a:pt x="3708042" y="1092964"/>
                    <a:pt x="3656911" y="1092964"/>
                  </a:cubicBezTo>
                  <a:cubicBezTo>
                    <a:pt x="3605740" y="1092964"/>
                    <a:pt x="3557636" y="1112901"/>
                    <a:pt x="3521475" y="1149072"/>
                  </a:cubicBezTo>
                  <a:cubicBezTo>
                    <a:pt x="3408886" y="1261661"/>
                    <a:pt x="3265446" y="1259026"/>
                    <a:pt x="3168817" y="1218955"/>
                  </a:cubicBezTo>
                  <a:cubicBezTo>
                    <a:pt x="3072188" y="1178885"/>
                    <a:pt x="2968857" y="1079385"/>
                    <a:pt x="2968857" y="920181"/>
                  </a:cubicBezTo>
                  <a:cubicBezTo>
                    <a:pt x="2968857" y="814554"/>
                    <a:pt x="2882907" y="728593"/>
                    <a:pt x="2777274" y="728593"/>
                  </a:cubicBezTo>
                  <a:lnTo>
                    <a:pt x="2418189" y="728593"/>
                  </a:lnTo>
                  <a:cubicBezTo>
                    <a:pt x="2312566" y="728593"/>
                    <a:pt x="2226606" y="814548"/>
                    <a:pt x="2226606" y="920181"/>
                  </a:cubicBezTo>
                  <a:cubicBezTo>
                    <a:pt x="2226606" y="1079385"/>
                    <a:pt x="2123354" y="1178963"/>
                    <a:pt x="2026647" y="1218955"/>
                  </a:cubicBezTo>
                  <a:cubicBezTo>
                    <a:pt x="1930017" y="1259016"/>
                    <a:pt x="1786577" y="1261661"/>
                    <a:pt x="1673988" y="1149072"/>
                  </a:cubicBezTo>
                  <a:cubicBezTo>
                    <a:pt x="1599285" y="1074369"/>
                    <a:pt x="1477781" y="1074369"/>
                    <a:pt x="1403117" y="1149072"/>
                  </a:cubicBezTo>
                  <a:lnTo>
                    <a:pt x="1149195" y="1402994"/>
                  </a:lnTo>
                  <a:cubicBezTo>
                    <a:pt x="1074492" y="1477698"/>
                    <a:pt x="1074492" y="1599202"/>
                    <a:pt x="1149195" y="1673866"/>
                  </a:cubicBezTo>
                  <a:cubicBezTo>
                    <a:pt x="1261784" y="1786455"/>
                    <a:pt x="1259148" y="1929895"/>
                    <a:pt x="1219078" y="2026524"/>
                  </a:cubicBezTo>
                  <a:cubicBezTo>
                    <a:pt x="1179007" y="2123153"/>
                    <a:pt x="1079508" y="2226484"/>
                    <a:pt x="920304" y="2226484"/>
                  </a:cubicBezTo>
                  <a:cubicBezTo>
                    <a:pt x="814681" y="2226484"/>
                    <a:pt x="728721" y="2312434"/>
                    <a:pt x="728721" y="2418067"/>
                  </a:cubicBezTo>
                  <a:lnTo>
                    <a:pt x="728721" y="2777152"/>
                  </a:lnTo>
                  <a:cubicBezTo>
                    <a:pt x="728721" y="2882775"/>
                    <a:pt x="814671" y="2968735"/>
                    <a:pt x="920304" y="2968735"/>
                  </a:cubicBezTo>
                  <a:cubicBezTo>
                    <a:pt x="1079547" y="2968735"/>
                    <a:pt x="1179086" y="3072026"/>
                    <a:pt x="1219078" y="3168695"/>
                  </a:cubicBezTo>
                  <a:close/>
                  <a:moveTo>
                    <a:pt x="876021" y="2777191"/>
                  </a:moveTo>
                  <a:lnTo>
                    <a:pt x="876021" y="2418106"/>
                  </a:lnTo>
                  <a:cubicBezTo>
                    <a:pt x="876021" y="2393652"/>
                    <a:pt x="895919" y="2373833"/>
                    <a:pt x="920294" y="2373833"/>
                  </a:cubicBezTo>
                  <a:cubicBezTo>
                    <a:pt x="1114219" y="2373833"/>
                    <a:pt x="1280810" y="2262390"/>
                    <a:pt x="1355091" y="2082965"/>
                  </a:cubicBezTo>
                  <a:cubicBezTo>
                    <a:pt x="1429373" y="1903570"/>
                    <a:pt x="1390410" y="1706931"/>
                    <a:pt x="1253280" y="1569801"/>
                  </a:cubicBezTo>
                  <a:cubicBezTo>
                    <a:pt x="1236027" y="1552548"/>
                    <a:pt x="1236027" y="1524420"/>
                    <a:pt x="1253280" y="1507119"/>
                  </a:cubicBezTo>
                  <a:lnTo>
                    <a:pt x="1507202" y="1253196"/>
                  </a:lnTo>
                  <a:cubicBezTo>
                    <a:pt x="1515549" y="1244859"/>
                    <a:pt x="1526688" y="1240225"/>
                    <a:pt x="1538514" y="1240225"/>
                  </a:cubicBezTo>
                  <a:cubicBezTo>
                    <a:pt x="1550339" y="1240225"/>
                    <a:pt x="1561478" y="1244859"/>
                    <a:pt x="1569816" y="1253196"/>
                  </a:cubicBezTo>
                  <a:cubicBezTo>
                    <a:pt x="1706936" y="1390317"/>
                    <a:pt x="1903526" y="1429320"/>
                    <a:pt x="2082980" y="1354998"/>
                  </a:cubicBezTo>
                  <a:cubicBezTo>
                    <a:pt x="2262385" y="1280716"/>
                    <a:pt x="2373838" y="1114047"/>
                    <a:pt x="2373838" y="920211"/>
                  </a:cubicBezTo>
                  <a:cubicBezTo>
                    <a:pt x="2373838" y="895757"/>
                    <a:pt x="2393736" y="875938"/>
                    <a:pt x="2418121" y="875938"/>
                  </a:cubicBezTo>
                  <a:lnTo>
                    <a:pt x="2777206" y="875938"/>
                  </a:lnTo>
                  <a:cubicBezTo>
                    <a:pt x="2801659" y="875938"/>
                    <a:pt x="2821479" y="895836"/>
                    <a:pt x="2821479" y="920211"/>
                  </a:cubicBezTo>
                  <a:cubicBezTo>
                    <a:pt x="2821479" y="1114126"/>
                    <a:pt x="2932922" y="1280716"/>
                    <a:pt x="3112337" y="1354998"/>
                  </a:cubicBezTo>
                  <a:cubicBezTo>
                    <a:pt x="3291742" y="1429280"/>
                    <a:pt x="3488380" y="1390327"/>
                    <a:pt x="3625501" y="1253196"/>
                  </a:cubicBezTo>
                  <a:cubicBezTo>
                    <a:pt x="3633848" y="1244859"/>
                    <a:pt x="3644978" y="1240225"/>
                    <a:pt x="3656803" y="1240225"/>
                  </a:cubicBezTo>
                  <a:cubicBezTo>
                    <a:pt x="3668628" y="1240225"/>
                    <a:pt x="3679767" y="1244859"/>
                    <a:pt x="3688115" y="1253196"/>
                  </a:cubicBezTo>
                  <a:lnTo>
                    <a:pt x="3942037" y="1507119"/>
                  </a:lnTo>
                  <a:cubicBezTo>
                    <a:pt x="3959290" y="1524381"/>
                    <a:pt x="3959290" y="1552509"/>
                    <a:pt x="3942037" y="1569801"/>
                  </a:cubicBezTo>
                  <a:cubicBezTo>
                    <a:pt x="3804916" y="1706931"/>
                    <a:pt x="3765914" y="1903550"/>
                    <a:pt x="3840235" y="2082965"/>
                  </a:cubicBezTo>
                  <a:cubicBezTo>
                    <a:pt x="3914517" y="2262371"/>
                    <a:pt x="4081186" y="2373833"/>
                    <a:pt x="4275023" y="2373833"/>
                  </a:cubicBezTo>
                  <a:cubicBezTo>
                    <a:pt x="4299476" y="2373833"/>
                    <a:pt x="4319296" y="2393731"/>
                    <a:pt x="4319296" y="2418106"/>
                  </a:cubicBezTo>
                  <a:lnTo>
                    <a:pt x="4319296" y="2777191"/>
                  </a:lnTo>
                  <a:cubicBezTo>
                    <a:pt x="4319296" y="2801645"/>
                    <a:pt x="4299398" y="2821474"/>
                    <a:pt x="4275023" y="2821474"/>
                  </a:cubicBezTo>
                  <a:cubicBezTo>
                    <a:pt x="4081107" y="2821474"/>
                    <a:pt x="3914517" y="2932916"/>
                    <a:pt x="3840235" y="3112322"/>
                  </a:cubicBezTo>
                  <a:cubicBezTo>
                    <a:pt x="3765953" y="3291737"/>
                    <a:pt x="3804906" y="3488365"/>
                    <a:pt x="3942037" y="3625486"/>
                  </a:cubicBezTo>
                  <a:cubicBezTo>
                    <a:pt x="3950374" y="3633833"/>
                    <a:pt x="3955008" y="3644973"/>
                    <a:pt x="3955008" y="3656798"/>
                  </a:cubicBezTo>
                  <a:cubicBezTo>
                    <a:pt x="3955008" y="3668623"/>
                    <a:pt x="3950374" y="3679762"/>
                    <a:pt x="3942037" y="3688100"/>
                  </a:cubicBezTo>
                  <a:lnTo>
                    <a:pt x="3688115" y="3942022"/>
                  </a:lnTo>
                  <a:cubicBezTo>
                    <a:pt x="3679767" y="3950369"/>
                    <a:pt x="3668628" y="3954994"/>
                    <a:pt x="3656803" y="3954994"/>
                  </a:cubicBezTo>
                  <a:cubicBezTo>
                    <a:pt x="3644978" y="3954994"/>
                    <a:pt x="3633848" y="3950369"/>
                    <a:pt x="3625501" y="3942022"/>
                  </a:cubicBezTo>
                  <a:cubicBezTo>
                    <a:pt x="3488380" y="3804901"/>
                    <a:pt x="3291751" y="3765938"/>
                    <a:pt x="3112337" y="3840220"/>
                  </a:cubicBezTo>
                  <a:cubicBezTo>
                    <a:pt x="2932922" y="3914502"/>
                    <a:pt x="2821479" y="4081171"/>
                    <a:pt x="2821479" y="4275008"/>
                  </a:cubicBezTo>
                  <a:cubicBezTo>
                    <a:pt x="2821479" y="4299461"/>
                    <a:pt x="2801581" y="4319291"/>
                    <a:pt x="2777206" y="4319291"/>
                  </a:cubicBezTo>
                  <a:lnTo>
                    <a:pt x="2418121" y="4319291"/>
                  </a:lnTo>
                  <a:cubicBezTo>
                    <a:pt x="2393667" y="4319291"/>
                    <a:pt x="2373838" y="4299383"/>
                    <a:pt x="2373838" y="4275008"/>
                  </a:cubicBezTo>
                  <a:cubicBezTo>
                    <a:pt x="2373838" y="4080936"/>
                    <a:pt x="2262434" y="3914159"/>
                    <a:pt x="2083098" y="3839916"/>
                  </a:cubicBezTo>
                  <a:cubicBezTo>
                    <a:pt x="2022973" y="3815002"/>
                    <a:pt x="1960976" y="3802873"/>
                    <a:pt x="1899862" y="3802873"/>
                  </a:cubicBezTo>
                  <a:cubicBezTo>
                    <a:pt x="1778661" y="3802873"/>
                    <a:pt x="1661096" y="3850752"/>
                    <a:pt x="1569816" y="3942022"/>
                  </a:cubicBezTo>
                  <a:cubicBezTo>
                    <a:pt x="1561478" y="3950360"/>
                    <a:pt x="1550339" y="3954994"/>
                    <a:pt x="1538514" y="3954994"/>
                  </a:cubicBezTo>
                  <a:cubicBezTo>
                    <a:pt x="1526688" y="3954994"/>
                    <a:pt x="1515549" y="3950360"/>
                    <a:pt x="1507202" y="3942022"/>
                  </a:cubicBezTo>
                  <a:lnTo>
                    <a:pt x="1253280" y="3688100"/>
                  </a:lnTo>
                  <a:cubicBezTo>
                    <a:pt x="1244942" y="3679753"/>
                    <a:pt x="1240308" y="3668623"/>
                    <a:pt x="1240308" y="3656798"/>
                  </a:cubicBezTo>
                  <a:cubicBezTo>
                    <a:pt x="1240308" y="3644973"/>
                    <a:pt x="1244942" y="3633833"/>
                    <a:pt x="1253280" y="3625486"/>
                  </a:cubicBezTo>
                  <a:cubicBezTo>
                    <a:pt x="1390410" y="3488365"/>
                    <a:pt x="1429413" y="3291737"/>
                    <a:pt x="1355091" y="3112322"/>
                  </a:cubicBezTo>
                  <a:cubicBezTo>
                    <a:pt x="1280810" y="2932916"/>
                    <a:pt x="1114131" y="2821464"/>
                    <a:pt x="920294" y="2821464"/>
                  </a:cubicBezTo>
                  <a:cubicBezTo>
                    <a:pt x="895841" y="2821503"/>
                    <a:pt x="876021" y="2801645"/>
                    <a:pt x="876021" y="2777191"/>
                  </a:cubicBezTo>
                  <a:close/>
                  <a:moveTo>
                    <a:pt x="700280" y="4148497"/>
                  </a:moveTo>
                  <a:cubicBezTo>
                    <a:pt x="726037" y="4179916"/>
                    <a:pt x="721442" y="4226335"/>
                    <a:pt x="689983" y="4252092"/>
                  </a:cubicBezTo>
                  <a:cubicBezTo>
                    <a:pt x="676326" y="4263300"/>
                    <a:pt x="659749" y="4268776"/>
                    <a:pt x="643339" y="4268776"/>
                  </a:cubicBezTo>
                  <a:cubicBezTo>
                    <a:pt x="622020" y="4268776"/>
                    <a:pt x="600927" y="4259597"/>
                    <a:pt x="586349" y="4241795"/>
                  </a:cubicBezTo>
                  <a:cubicBezTo>
                    <a:pt x="180071" y="3745972"/>
                    <a:pt x="-27079" y="3118847"/>
                    <a:pt x="2842" y="2475860"/>
                  </a:cubicBezTo>
                  <a:cubicBezTo>
                    <a:pt x="32998" y="1828524"/>
                    <a:pt x="302193" y="1219377"/>
                    <a:pt x="760816" y="760872"/>
                  </a:cubicBezTo>
                  <a:cubicBezTo>
                    <a:pt x="1219479" y="302248"/>
                    <a:pt x="1828509" y="33091"/>
                    <a:pt x="2475806" y="2857"/>
                  </a:cubicBezTo>
                  <a:cubicBezTo>
                    <a:pt x="3048978" y="-23894"/>
                    <a:pt x="3609532" y="137833"/>
                    <a:pt x="4075680" y="461099"/>
                  </a:cubicBezTo>
                  <a:lnTo>
                    <a:pt x="4013380" y="201132"/>
                  </a:lnTo>
                  <a:cubicBezTo>
                    <a:pt x="4003886" y="161598"/>
                    <a:pt x="4028301" y="121875"/>
                    <a:pt x="4067793" y="112384"/>
                  </a:cubicBezTo>
                  <a:cubicBezTo>
                    <a:pt x="4107334" y="102893"/>
                    <a:pt x="4147052" y="127308"/>
                    <a:pt x="4156545" y="166804"/>
                  </a:cubicBezTo>
                  <a:lnTo>
                    <a:pt x="4266460" y="625398"/>
                  </a:lnTo>
                  <a:cubicBezTo>
                    <a:pt x="4267077" y="627809"/>
                    <a:pt x="4267528" y="630259"/>
                    <a:pt x="4267880" y="632784"/>
                  </a:cubicBezTo>
                  <a:lnTo>
                    <a:pt x="4267880" y="632822"/>
                  </a:lnTo>
                  <a:cubicBezTo>
                    <a:pt x="4268223" y="635348"/>
                    <a:pt x="4268449" y="637836"/>
                    <a:pt x="4268566" y="640361"/>
                  </a:cubicBezTo>
                  <a:cubicBezTo>
                    <a:pt x="4269252" y="657354"/>
                    <a:pt x="4264167" y="674537"/>
                    <a:pt x="4252832" y="688811"/>
                  </a:cubicBezTo>
                  <a:cubicBezTo>
                    <a:pt x="4252146" y="689730"/>
                    <a:pt x="4251421" y="690572"/>
                    <a:pt x="4250657" y="691453"/>
                  </a:cubicBezTo>
                  <a:cubicBezTo>
                    <a:pt x="4238871" y="705038"/>
                    <a:pt x="4223176" y="713343"/>
                    <a:pt x="4206609" y="715984"/>
                  </a:cubicBezTo>
                  <a:cubicBezTo>
                    <a:pt x="4204385" y="716327"/>
                    <a:pt x="4202092" y="716596"/>
                    <a:pt x="4199790" y="716711"/>
                  </a:cubicBezTo>
                  <a:lnTo>
                    <a:pt x="4199683" y="716711"/>
                  </a:lnTo>
                  <a:cubicBezTo>
                    <a:pt x="4198987" y="716749"/>
                    <a:pt x="4198262" y="716749"/>
                    <a:pt x="4197576" y="716825"/>
                  </a:cubicBezTo>
                  <a:lnTo>
                    <a:pt x="3725863" y="735616"/>
                  </a:lnTo>
                  <a:cubicBezTo>
                    <a:pt x="3685528" y="737224"/>
                    <a:pt x="3651003" y="705612"/>
                    <a:pt x="3649396" y="664970"/>
                  </a:cubicBezTo>
                  <a:cubicBezTo>
                    <a:pt x="3647789" y="624327"/>
                    <a:pt x="3679405" y="590114"/>
                    <a:pt x="3720043" y="588506"/>
                  </a:cubicBezTo>
                  <a:lnTo>
                    <a:pt x="3986134" y="577867"/>
                  </a:lnTo>
                  <a:cubicBezTo>
                    <a:pt x="3019969" y="-90484"/>
                    <a:pt x="1711139" y="18666"/>
                    <a:pt x="864862" y="864975"/>
                  </a:cubicBezTo>
                  <a:cubicBezTo>
                    <a:pt x="-29775" y="1759571"/>
                    <a:pt x="-100579" y="3171222"/>
                    <a:pt x="700153" y="4148487"/>
                  </a:cubicBezTo>
                  <a:close/>
                  <a:moveTo>
                    <a:pt x="5192466" y="2719486"/>
                  </a:moveTo>
                  <a:cubicBezTo>
                    <a:pt x="5162310" y="3366822"/>
                    <a:pt x="4893114" y="3975969"/>
                    <a:pt x="4434490" y="4434476"/>
                  </a:cubicBezTo>
                  <a:cubicBezTo>
                    <a:pt x="3975896" y="4893070"/>
                    <a:pt x="3366798" y="5162296"/>
                    <a:pt x="2719500" y="5192451"/>
                  </a:cubicBezTo>
                  <a:cubicBezTo>
                    <a:pt x="2678627" y="5194322"/>
                    <a:pt x="2637831" y="5195322"/>
                    <a:pt x="2597154" y="5195322"/>
                  </a:cubicBezTo>
                  <a:cubicBezTo>
                    <a:pt x="2066923" y="5195322"/>
                    <a:pt x="1552484" y="5034433"/>
                    <a:pt x="1119549" y="4734249"/>
                  </a:cubicBezTo>
                  <a:lnTo>
                    <a:pt x="1181849" y="4994216"/>
                  </a:lnTo>
                  <a:cubicBezTo>
                    <a:pt x="1191342" y="5033747"/>
                    <a:pt x="1166928" y="5073474"/>
                    <a:pt x="1127435" y="5082968"/>
                  </a:cubicBezTo>
                  <a:cubicBezTo>
                    <a:pt x="1087904" y="5092452"/>
                    <a:pt x="1048176" y="5068037"/>
                    <a:pt x="1038683" y="5028545"/>
                  </a:cubicBezTo>
                  <a:lnTo>
                    <a:pt x="928769" y="4569950"/>
                  </a:lnTo>
                  <a:cubicBezTo>
                    <a:pt x="928201" y="4567619"/>
                    <a:pt x="927701" y="4565199"/>
                    <a:pt x="927358" y="4562750"/>
                  </a:cubicBezTo>
                  <a:cubicBezTo>
                    <a:pt x="926976" y="4560193"/>
                    <a:pt x="926741" y="4557547"/>
                    <a:pt x="926623" y="4554990"/>
                  </a:cubicBezTo>
                  <a:cubicBezTo>
                    <a:pt x="925937" y="4537610"/>
                    <a:pt x="931297" y="4519965"/>
                    <a:pt x="943161" y="4505426"/>
                  </a:cubicBezTo>
                  <a:cubicBezTo>
                    <a:pt x="943161" y="4505426"/>
                    <a:pt x="943200" y="4505387"/>
                    <a:pt x="943200" y="4505387"/>
                  </a:cubicBezTo>
                  <a:lnTo>
                    <a:pt x="943239" y="4505348"/>
                  </a:lnTo>
                  <a:cubicBezTo>
                    <a:pt x="943239" y="4505309"/>
                    <a:pt x="943278" y="4505309"/>
                    <a:pt x="943278" y="4505231"/>
                  </a:cubicBezTo>
                  <a:lnTo>
                    <a:pt x="943308" y="4505191"/>
                  </a:lnTo>
                  <a:cubicBezTo>
                    <a:pt x="943308" y="4505191"/>
                    <a:pt x="943308" y="4505162"/>
                    <a:pt x="943347" y="4505162"/>
                  </a:cubicBezTo>
                  <a:cubicBezTo>
                    <a:pt x="943347" y="4505162"/>
                    <a:pt x="943347" y="4505123"/>
                    <a:pt x="943386" y="4505123"/>
                  </a:cubicBezTo>
                  <a:lnTo>
                    <a:pt x="943425" y="4505084"/>
                  </a:lnTo>
                  <a:cubicBezTo>
                    <a:pt x="955446" y="4490692"/>
                    <a:pt x="971788" y="4482041"/>
                    <a:pt x="988972" y="4479405"/>
                  </a:cubicBezTo>
                  <a:lnTo>
                    <a:pt x="989080" y="4479405"/>
                  </a:lnTo>
                  <a:cubicBezTo>
                    <a:pt x="990804" y="4479170"/>
                    <a:pt x="992529" y="4478945"/>
                    <a:pt x="994214" y="4478827"/>
                  </a:cubicBezTo>
                  <a:lnTo>
                    <a:pt x="994322" y="4478827"/>
                  </a:lnTo>
                  <a:cubicBezTo>
                    <a:pt x="995360" y="4478788"/>
                    <a:pt x="996389" y="4478710"/>
                    <a:pt x="997427" y="4478671"/>
                  </a:cubicBezTo>
                  <a:lnTo>
                    <a:pt x="1469071" y="4459880"/>
                  </a:lnTo>
                  <a:cubicBezTo>
                    <a:pt x="1509602" y="4458508"/>
                    <a:pt x="1543922" y="4489888"/>
                    <a:pt x="1545538" y="4530527"/>
                  </a:cubicBezTo>
                  <a:cubicBezTo>
                    <a:pt x="1547145" y="4571175"/>
                    <a:pt x="1515530" y="4605387"/>
                    <a:pt x="1474891" y="4606993"/>
                  </a:cubicBezTo>
                  <a:lnTo>
                    <a:pt x="1208801" y="4617633"/>
                  </a:lnTo>
                  <a:cubicBezTo>
                    <a:pt x="1628853" y="4908178"/>
                    <a:pt x="2113655" y="5051803"/>
                    <a:pt x="2597056" y="5051803"/>
                  </a:cubicBezTo>
                  <a:cubicBezTo>
                    <a:pt x="3225641" y="5051843"/>
                    <a:pt x="3851776" y="4809020"/>
                    <a:pt x="4330072" y="4330645"/>
                  </a:cubicBezTo>
                  <a:cubicBezTo>
                    <a:pt x="5224709" y="3436010"/>
                    <a:pt x="5295512" y="2024398"/>
                    <a:pt x="4494782" y="1047133"/>
                  </a:cubicBezTo>
                  <a:cubicBezTo>
                    <a:pt x="4469026" y="1015713"/>
                    <a:pt x="4473610" y="969295"/>
                    <a:pt x="4505069" y="943538"/>
                  </a:cubicBezTo>
                  <a:cubicBezTo>
                    <a:pt x="4536498" y="917781"/>
                    <a:pt x="4582917" y="922376"/>
                    <a:pt x="4608674" y="953835"/>
                  </a:cubicBezTo>
                  <a:cubicBezTo>
                    <a:pt x="5015206" y="1449315"/>
                    <a:pt x="5222436" y="2076489"/>
                    <a:pt x="5192446" y="2719476"/>
                  </a:cubicBezTo>
                  <a:close/>
                  <a:moveTo>
                    <a:pt x="2597693" y="3533873"/>
                  </a:moveTo>
                  <a:cubicBezTo>
                    <a:pt x="3113914" y="3533873"/>
                    <a:pt x="3533927" y="3113860"/>
                    <a:pt x="3533927" y="2597639"/>
                  </a:cubicBezTo>
                  <a:cubicBezTo>
                    <a:pt x="3533927" y="2081417"/>
                    <a:pt x="3113914" y="1661365"/>
                    <a:pt x="2597693" y="1661365"/>
                  </a:cubicBezTo>
                  <a:cubicBezTo>
                    <a:pt x="2081471" y="1661365"/>
                    <a:pt x="1661458" y="2081417"/>
                    <a:pt x="1661458" y="2597639"/>
                  </a:cubicBezTo>
                  <a:cubicBezTo>
                    <a:pt x="1661458" y="3113860"/>
                    <a:pt x="2081471" y="3533873"/>
                    <a:pt x="2597693" y="3533873"/>
                  </a:cubicBezTo>
                  <a:close/>
                  <a:moveTo>
                    <a:pt x="2597693" y="1808596"/>
                  </a:moveTo>
                  <a:cubicBezTo>
                    <a:pt x="3032784" y="1808596"/>
                    <a:pt x="3386706" y="2162518"/>
                    <a:pt x="3386706" y="2597609"/>
                  </a:cubicBezTo>
                  <a:cubicBezTo>
                    <a:pt x="3386706" y="3032700"/>
                    <a:pt x="3032784" y="3386622"/>
                    <a:pt x="2597693" y="3386622"/>
                  </a:cubicBezTo>
                  <a:cubicBezTo>
                    <a:pt x="2162601" y="3386622"/>
                    <a:pt x="1808680" y="3032700"/>
                    <a:pt x="1808680" y="2597609"/>
                  </a:cubicBezTo>
                  <a:cubicBezTo>
                    <a:pt x="1808680" y="2162518"/>
                    <a:pt x="2162601" y="1808596"/>
                    <a:pt x="2597693" y="1808596"/>
                  </a:cubicBezTo>
                  <a:close/>
                  <a:moveTo>
                    <a:pt x="2292179" y="2394318"/>
                  </a:moveTo>
                  <a:cubicBezTo>
                    <a:pt x="2292179" y="2263282"/>
                    <a:pt x="2390414" y="2152907"/>
                    <a:pt x="2522833" y="2122105"/>
                  </a:cubicBezTo>
                  <a:lnTo>
                    <a:pt x="2521412" y="2061294"/>
                  </a:lnTo>
                  <a:cubicBezTo>
                    <a:pt x="2520462" y="2020655"/>
                    <a:pt x="2552606" y="1986894"/>
                    <a:pt x="2593245" y="1985905"/>
                  </a:cubicBezTo>
                  <a:cubicBezTo>
                    <a:pt x="2634011" y="1984827"/>
                    <a:pt x="2667644" y="2017089"/>
                    <a:pt x="2668644" y="2057738"/>
                  </a:cubicBezTo>
                  <a:lnTo>
                    <a:pt x="2670250" y="2123907"/>
                  </a:lnTo>
                  <a:cubicBezTo>
                    <a:pt x="2742622" y="2142238"/>
                    <a:pt x="2826779" y="2184140"/>
                    <a:pt x="2865086" y="2242433"/>
                  </a:cubicBezTo>
                  <a:cubicBezTo>
                    <a:pt x="2887433" y="2276449"/>
                    <a:pt x="2877979" y="2322035"/>
                    <a:pt x="2844003" y="2344382"/>
                  </a:cubicBezTo>
                  <a:cubicBezTo>
                    <a:pt x="2809977" y="2366730"/>
                    <a:pt x="2764401" y="2357276"/>
                    <a:pt x="2742053" y="2323289"/>
                  </a:cubicBezTo>
                  <a:cubicBezTo>
                    <a:pt x="2724791" y="2297003"/>
                    <a:pt x="2641172" y="2260764"/>
                    <a:pt x="2597810" y="2260764"/>
                  </a:cubicBezTo>
                  <a:cubicBezTo>
                    <a:pt x="2510547" y="2260764"/>
                    <a:pt x="2439488" y="2320654"/>
                    <a:pt x="2439488" y="2394240"/>
                  </a:cubicBezTo>
                  <a:cubicBezTo>
                    <a:pt x="2439488" y="2467836"/>
                    <a:pt x="2510518" y="2527726"/>
                    <a:pt x="2597810" y="2527726"/>
                  </a:cubicBezTo>
                  <a:cubicBezTo>
                    <a:pt x="2766272" y="2527726"/>
                    <a:pt x="2903324" y="2653669"/>
                    <a:pt x="2903324" y="2808434"/>
                  </a:cubicBezTo>
                  <a:cubicBezTo>
                    <a:pt x="2903324" y="2939432"/>
                    <a:pt x="2805128" y="3049767"/>
                    <a:pt x="2672827" y="3080579"/>
                  </a:cubicBezTo>
                  <a:lnTo>
                    <a:pt x="2674120" y="3133768"/>
                  </a:lnTo>
                  <a:cubicBezTo>
                    <a:pt x="2675080" y="3174416"/>
                    <a:pt x="2642975" y="3208167"/>
                    <a:pt x="2602287" y="3209166"/>
                  </a:cubicBezTo>
                  <a:lnTo>
                    <a:pt x="2600456" y="3209166"/>
                  </a:lnTo>
                  <a:cubicBezTo>
                    <a:pt x="2560610" y="3209166"/>
                    <a:pt x="2527859" y="3177394"/>
                    <a:pt x="2526898" y="3137334"/>
                  </a:cubicBezTo>
                  <a:lnTo>
                    <a:pt x="2525595" y="3081872"/>
                  </a:lnTo>
                  <a:cubicBezTo>
                    <a:pt x="2450050" y="3065766"/>
                    <a:pt x="2400564" y="3024667"/>
                    <a:pt x="2353224" y="2980031"/>
                  </a:cubicBezTo>
                  <a:cubicBezTo>
                    <a:pt x="2323686" y="2952138"/>
                    <a:pt x="2322305" y="2905563"/>
                    <a:pt x="2350207" y="2875975"/>
                  </a:cubicBezTo>
                  <a:cubicBezTo>
                    <a:pt x="2378099" y="2846437"/>
                    <a:pt x="2424714" y="2845056"/>
                    <a:pt x="2454262" y="2872958"/>
                  </a:cubicBezTo>
                  <a:cubicBezTo>
                    <a:pt x="2508215" y="2923815"/>
                    <a:pt x="2537999" y="2941881"/>
                    <a:pt x="2597771" y="2941881"/>
                  </a:cubicBezTo>
                  <a:cubicBezTo>
                    <a:pt x="2685024" y="2941881"/>
                    <a:pt x="2756093" y="2881991"/>
                    <a:pt x="2756093" y="2808395"/>
                  </a:cubicBezTo>
                  <a:cubicBezTo>
                    <a:pt x="2756093" y="2734799"/>
                    <a:pt x="2685064" y="2674909"/>
                    <a:pt x="2597771" y="2674909"/>
                  </a:cubicBezTo>
                  <a:cubicBezTo>
                    <a:pt x="2429231" y="2675026"/>
                    <a:pt x="2292188" y="2549074"/>
                    <a:pt x="2292188" y="2394309"/>
                  </a:cubicBezTo>
                  <a:close/>
                </a:path>
              </a:pathLst>
            </a:custGeom>
            <a:solidFill>
              <a:schemeClr val="bg1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2EF11FC0-FE6B-4035-A9DD-EC2B3EC445A5}"/>
                </a:ext>
              </a:extLst>
            </p:cNvPr>
            <p:cNvSpPr/>
            <p:nvPr/>
          </p:nvSpPr>
          <p:spPr>
            <a:xfrm>
              <a:off x="4208771" y="5574026"/>
              <a:ext cx="358728" cy="358726"/>
            </a:xfrm>
            <a:custGeom>
              <a:avLst/>
              <a:gdLst>
                <a:gd name="connsiteX0" fmla="*/ 5091379 w 5212080"/>
                <a:gd name="connsiteY0" fmla="*/ 2485339 h 5212080"/>
                <a:gd name="connsiteX1" fmla="*/ 4773168 w 5212080"/>
                <a:gd name="connsiteY1" fmla="*/ 2485339 h 5212080"/>
                <a:gd name="connsiteX2" fmla="*/ 2726741 w 5212080"/>
                <a:gd name="connsiteY2" fmla="*/ 438912 h 5212080"/>
                <a:gd name="connsiteX3" fmla="*/ 2726741 w 5212080"/>
                <a:gd name="connsiteY3" fmla="*/ 120701 h 5212080"/>
                <a:gd name="connsiteX4" fmla="*/ 2606040 w 5212080"/>
                <a:gd name="connsiteY4" fmla="*/ 0 h 5212080"/>
                <a:gd name="connsiteX5" fmla="*/ 2485339 w 5212080"/>
                <a:gd name="connsiteY5" fmla="*/ 120701 h 5212080"/>
                <a:gd name="connsiteX6" fmla="*/ 2485339 w 5212080"/>
                <a:gd name="connsiteY6" fmla="*/ 438912 h 5212080"/>
                <a:gd name="connsiteX7" fmla="*/ 438912 w 5212080"/>
                <a:gd name="connsiteY7" fmla="*/ 2485339 h 5212080"/>
                <a:gd name="connsiteX8" fmla="*/ 120701 w 5212080"/>
                <a:gd name="connsiteY8" fmla="*/ 2485339 h 5212080"/>
                <a:gd name="connsiteX9" fmla="*/ 0 w 5212080"/>
                <a:gd name="connsiteY9" fmla="*/ 2606040 h 5212080"/>
                <a:gd name="connsiteX10" fmla="*/ 120701 w 5212080"/>
                <a:gd name="connsiteY10" fmla="*/ 2726741 h 5212080"/>
                <a:gd name="connsiteX11" fmla="*/ 438912 w 5212080"/>
                <a:gd name="connsiteY11" fmla="*/ 2726741 h 5212080"/>
                <a:gd name="connsiteX12" fmla="*/ 2485339 w 5212080"/>
                <a:gd name="connsiteY12" fmla="*/ 4773168 h 5212080"/>
                <a:gd name="connsiteX13" fmla="*/ 2485339 w 5212080"/>
                <a:gd name="connsiteY13" fmla="*/ 5091379 h 5212080"/>
                <a:gd name="connsiteX14" fmla="*/ 2606040 w 5212080"/>
                <a:gd name="connsiteY14" fmla="*/ 5212080 h 5212080"/>
                <a:gd name="connsiteX15" fmla="*/ 2726741 w 5212080"/>
                <a:gd name="connsiteY15" fmla="*/ 5091379 h 5212080"/>
                <a:gd name="connsiteX16" fmla="*/ 2726741 w 5212080"/>
                <a:gd name="connsiteY16" fmla="*/ 4773168 h 5212080"/>
                <a:gd name="connsiteX17" fmla="*/ 4773168 w 5212080"/>
                <a:gd name="connsiteY17" fmla="*/ 2726741 h 5212080"/>
                <a:gd name="connsiteX18" fmla="*/ 5091379 w 5212080"/>
                <a:gd name="connsiteY18" fmla="*/ 2726741 h 5212080"/>
                <a:gd name="connsiteX19" fmla="*/ 5212080 w 5212080"/>
                <a:gd name="connsiteY19" fmla="*/ 2606040 h 5212080"/>
                <a:gd name="connsiteX20" fmla="*/ 5091379 w 5212080"/>
                <a:gd name="connsiteY20" fmla="*/ 2485339 h 5212080"/>
                <a:gd name="connsiteX21" fmla="*/ 4531757 w 5212080"/>
                <a:gd name="connsiteY21" fmla="*/ 2485339 h 5212080"/>
                <a:gd name="connsiteX22" fmla="*/ 4016025 w 5212080"/>
                <a:gd name="connsiteY22" fmla="*/ 2485339 h 5212080"/>
                <a:gd name="connsiteX23" fmla="*/ 2732208 w 5212080"/>
                <a:gd name="connsiteY23" fmla="*/ 1201522 h 5212080"/>
                <a:gd name="connsiteX24" fmla="*/ 2732208 w 5212080"/>
                <a:gd name="connsiteY24" fmla="*/ 685790 h 5212080"/>
                <a:gd name="connsiteX25" fmla="*/ 4531747 w 5212080"/>
                <a:gd name="connsiteY25" fmla="*/ 2485329 h 5212080"/>
                <a:gd name="connsiteX26" fmla="*/ 2606030 w 5212080"/>
                <a:gd name="connsiteY26" fmla="*/ 2962646 h 5212080"/>
                <a:gd name="connsiteX27" fmla="*/ 2249434 w 5212080"/>
                <a:gd name="connsiteY27" fmla="*/ 2606050 h 5212080"/>
                <a:gd name="connsiteX28" fmla="*/ 2606030 w 5212080"/>
                <a:gd name="connsiteY28" fmla="*/ 2249453 h 5212080"/>
                <a:gd name="connsiteX29" fmla="*/ 2962627 w 5212080"/>
                <a:gd name="connsiteY29" fmla="*/ 2606050 h 5212080"/>
                <a:gd name="connsiteX30" fmla="*/ 2606030 w 5212080"/>
                <a:gd name="connsiteY30" fmla="*/ 2962646 h 5212080"/>
                <a:gd name="connsiteX31" fmla="*/ 2485329 w 5212080"/>
                <a:gd name="connsiteY31" fmla="*/ 2018985 h 5212080"/>
                <a:gd name="connsiteX32" fmla="*/ 2018966 w 5212080"/>
                <a:gd name="connsiteY32" fmla="*/ 2485349 h 5212080"/>
                <a:gd name="connsiteX33" fmla="*/ 1442923 w 5212080"/>
                <a:gd name="connsiteY33" fmla="*/ 2485349 h 5212080"/>
                <a:gd name="connsiteX34" fmla="*/ 2485339 w 5212080"/>
                <a:gd name="connsiteY34" fmla="*/ 1442933 h 5212080"/>
                <a:gd name="connsiteX35" fmla="*/ 2018966 w 5212080"/>
                <a:gd name="connsiteY35" fmla="*/ 2726751 h 5212080"/>
                <a:gd name="connsiteX36" fmla="*/ 2485329 w 5212080"/>
                <a:gd name="connsiteY36" fmla="*/ 3193114 h 5212080"/>
                <a:gd name="connsiteX37" fmla="*/ 2485329 w 5212080"/>
                <a:gd name="connsiteY37" fmla="*/ 3774663 h 5212080"/>
                <a:gd name="connsiteX38" fmla="*/ 1442914 w 5212080"/>
                <a:gd name="connsiteY38" fmla="*/ 2732247 h 5212080"/>
                <a:gd name="connsiteX39" fmla="*/ 2018956 w 5212080"/>
                <a:gd name="connsiteY39" fmla="*/ 2732208 h 5212080"/>
                <a:gd name="connsiteX40" fmla="*/ 2726731 w 5212080"/>
                <a:gd name="connsiteY40" fmla="*/ 3193114 h 5212080"/>
                <a:gd name="connsiteX41" fmla="*/ 3193095 w 5212080"/>
                <a:gd name="connsiteY41" fmla="*/ 2726751 h 5212080"/>
                <a:gd name="connsiteX42" fmla="*/ 3774643 w 5212080"/>
                <a:gd name="connsiteY42" fmla="*/ 2726751 h 5212080"/>
                <a:gd name="connsiteX43" fmla="*/ 2732227 w 5212080"/>
                <a:gd name="connsiteY43" fmla="*/ 3769167 h 5212080"/>
                <a:gd name="connsiteX44" fmla="*/ 2732188 w 5212080"/>
                <a:gd name="connsiteY44" fmla="*/ 3193124 h 5212080"/>
                <a:gd name="connsiteX45" fmla="*/ 3193095 w 5212080"/>
                <a:gd name="connsiteY45" fmla="*/ 2485349 h 5212080"/>
                <a:gd name="connsiteX46" fmla="*/ 2726731 w 5212080"/>
                <a:gd name="connsiteY46" fmla="*/ 2018985 h 5212080"/>
                <a:gd name="connsiteX47" fmla="*/ 2726731 w 5212080"/>
                <a:gd name="connsiteY47" fmla="*/ 1442943 h 5212080"/>
                <a:gd name="connsiteX48" fmla="*/ 3769147 w 5212080"/>
                <a:gd name="connsiteY48" fmla="*/ 2485359 h 5212080"/>
                <a:gd name="connsiteX49" fmla="*/ 2485329 w 5212080"/>
                <a:gd name="connsiteY49" fmla="*/ 680323 h 5212080"/>
                <a:gd name="connsiteX50" fmla="*/ 2485329 w 5212080"/>
                <a:gd name="connsiteY50" fmla="*/ 1196055 h 5212080"/>
                <a:gd name="connsiteX51" fmla="*/ 1201512 w 5212080"/>
                <a:gd name="connsiteY51" fmla="*/ 2479873 h 5212080"/>
                <a:gd name="connsiteX52" fmla="*/ 685780 w 5212080"/>
                <a:gd name="connsiteY52" fmla="*/ 2479873 h 5212080"/>
                <a:gd name="connsiteX53" fmla="*/ 2485320 w 5212080"/>
                <a:gd name="connsiteY53" fmla="*/ 680333 h 5212080"/>
                <a:gd name="connsiteX54" fmla="*/ 680304 w 5212080"/>
                <a:gd name="connsiteY54" fmla="*/ 2726751 h 5212080"/>
                <a:gd name="connsiteX55" fmla="*/ 1196035 w 5212080"/>
                <a:gd name="connsiteY55" fmla="*/ 2726751 h 5212080"/>
                <a:gd name="connsiteX56" fmla="*/ 2479853 w 5212080"/>
                <a:gd name="connsiteY56" fmla="*/ 4010568 h 5212080"/>
                <a:gd name="connsiteX57" fmla="*/ 2479853 w 5212080"/>
                <a:gd name="connsiteY57" fmla="*/ 4526300 h 5212080"/>
                <a:gd name="connsiteX58" fmla="*/ 680314 w 5212080"/>
                <a:gd name="connsiteY58" fmla="*/ 2726760 h 5212080"/>
                <a:gd name="connsiteX59" fmla="*/ 2726731 w 5212080"/>
                <a:gd name="connsiteY59" fmla="*/ 4531776 h 5212080"/>
                <a:gd name="connsiteX60" fmla="*/ 2726731 w 5212080"/>
                <a:gd name="connsiteY60" fmla="*/ 4016045 h 5212080"/>
                <a:gd name="connsiteX61" fmla="*/ 4010549 w 5212080"/>
                <a:gd name="connsiteY61" fmla="*/ 2732227 h 5212080"/>
                <a:gd name="connsiteX62" fmla="*/ 4526280 w 5212080"/>
                <a:gd name="connsiteY62" fmla="*/ 2732227 h 5212080"/>
                <a:gd name="connsiteX63" fmla="*/ 2726741 w 5212080"/>
                <a:gd name="connsiteY63" fmla="*/ 4531767 h 521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5212080" h="5212080">
                  <a:moveTo>
                    <a:pt x="5091379" y="2485339"/>
                  </a:moveTo>
                  <a:lnTo>
                    <a:pt x="4773168" y="2485339"/>
                  </a:lnTo>
                  <a:cubicBezTo>
                    <a:pt x="4712818" y="1382573"/>
                    <a:pt x="3829507" y="499262"/>
                    <a:pt x="2726741" y="438912"/>
                  </a:cubicBezTo>
                  <a:lnTo>
                    <a:pt x="2726741" y="120701"/>
                  </a:lnTo>
                  <a:cubicBezTo>
                    <a:pt x="2726741" y="54876"/>
                    <a:pt x="2671857" y="0"/>
                    <a:pt x="2606040" y="0"/>
                  </a:cubicBezTo>
                  <a:cubicBezTo>
                    <a:pt x="2540223" y="0"/>
                    <a:pt x="2485339" y="54880"/>
                    <a:pt x="2485339" y="120701"/>
                  </a:cubicBezTo>
                  <a:lnTo>
                    <a:pt x="2485339" y="438912"/>
                  </a:lnTo>
                  <a:cubicBezTo>
                    <a:pt x="1382573" y="499264"/>
                    <a:pt x="499262" y="1382573"/>
                    <a:pt x="438912" y="2485339"/>
                  </a:cubicBezTo>
                  <a:lnTo>
                    <a:pt x="120701" y="2485339"/>
                  </a:lnTo>
                  <a:cubicBezTo>
                    <a:pt x="54876" y="2485339"/>
                    <a:pt x="0" y="2540223"/>
                    <a:pt x="0" y="2606040"/>
                  </a:cubicBezTo>
                  <a:cubicBezTo>
                    <a:pt x="0" y="2671857"/>
                    <a:pt x="54880" y="2726741"/>
                    <a:pt x="120701" y="2726741"/>
                  </a:cubicBezTo>
                  <a:lnTo>
                    <a:pt x="438912" y="2726741"/>
                  </a:lnTo>
                  <a:cubicBezTo>
                    <a:pt x="499262" y="3829507"/>
                    <a:pt x="1382573" y="4712818"/>
                    <a:pt x="2485339" y="4773168"/>
                  </a:cubicBezTo>
                  <a:lnTo>
                    <a:pt x="2485339" y="5091379"/>
                  </a:lnTo>
                  <a:cubicBezTo>
                    <a:pt x="2485339" y="5157206"/>
                    <a:pt x="2540223" y="5212080"/>
                    <a:pt x="2606040" y="5212080"/>
                  </a:cubicBezTo>
                  <a:cubicBezTo>
                    <a:pt x="2671857" y="5212080"/>
                    <a:pt x="2726741" y="5157197"/>
                    <a:pt x="2726741" y="5091379"/>
                  </a:cubicBezTo>
                  <a:lnTo>
                    <a:pt x="2726741" y="4773168"/>
                  </a:lnTo>
                  <a:cubicBezTo>
                    <a:pt x="3829507" y="4712818"/>
                    <a:pt x="4712818" y="3829507"/>
                    <a:pt x="4773168" y="2726741"/>
                  </a:cubicBezTo>
                  <a:lnTo>
                    <a:pt x="5091379" y="2726741"/>
                  </a:lnTo>
                  <a:cubicBezTo>
                    <a:pt x="5157206" y="2726741"/>
                    <a:pt x="5212080" y="2671857"/>
                    <a:pt x="5212080" y="2606040"/>
                  </a:cubicBezTo>
                  <a:cubicBezTo>
                    <a:pt x="5212080" y="2540223"/>
                    <a:pt x="5157197" y="2485339"/>
                    <a:pt x="5091379" y="2485339"/>
                  </a:cubicBezTo>
                  <a:close/>
                  <a:moveTo>
                    <a:pt x="4531757" y="2485339"/>
                  </a:moveTo>
                  <a:lnTo>
                    <a:pt x="4016025" y="2485339"/>
                  </a:lnTo>
                  <a:cubicBezTo>
                    <a:pt x="3955675" y="1805016"/>
                    <a:pt x="3412502" y="1256386"/>
                    <a:pt x="2732208" y="1201522"/>
                  </a:cubicBezTo>
                  <a:lnTo>
                    <a:pt x="2732208" y="685790"/>
                  </a:lnTo>
                  <a:cubicBezTo>
                    <a:pt x="3692328" y="740670"/>
                    <a:pt x="4471397" y="1519733"/>
                    <a:pt x="4531747" y="2485329"/>
                  </a:cubicBezTo>
                  <a:close/>
                  <a:moveTo>
                    <a:pt x="2606030" y="2962646"/>
                  </a:moveTo>
                  <a:cubicBezTo>
                    <a:pt x="2408520" y="2962646"/>
                    <a:pt x="2249434" y="2803560"/>
                    <a:pt x="2249434" y="2606050"/>
                  </a:cubicBezTo>
                  <a:cubicBezTo>
                    <a:pt x="2249434" y="2408540"/>
                    <a:pt x="2408520" y="2249453"/>
                    <a:pt x="2606030" y="2249453"/>
                  </a:cubicBezTo>
                  <a:cubicBezTo>
                    <a:pt x="2803541" y="2249453"/>
                    <a:pt x="2962627" y="2408540"/>
                    <a:pt x="2962627" y="2606050"/>
                  </a:cubicBezTo>
                  <a:cubicBezTo>
                    <a:pt x="2962627" y="2803560"/>
                    <a:pt x="2803541" y="2962646"/>
                    <a:pt x="2606030" y="2962646"/>
                  </a:cubicBezTo>
                  <a:close/>
                  <a:moveTo>
                    <a:pt x="2485329" y="2018985"/>
                  </a:moveTo>
                  <a:cubicBezTo>
                    <a:pt x="2254901" y="2068353"/>
                    <a:pt x="2068373" y="2249414"/>
                    <a:pt x="2018966" y="2485349"/>
                  </a:cubicBezTo>
                  <a:lnTo>
                    <a:pt x="1442923" y="2485349"/>
                  </a:lnTo>
                  <a:cubicBezTo>
                    <a:pt x="1497807" y="1936709"/>
                    <a:pt x="1936680" y="1497797"/>
                    <a:pt x="2485339" y="1442933"/>
                  </a:cubicBezTo>
                  <a:close/>
                  <a:moveTo>
                    <a:pt x="2018966" y="2726751"/>
                  </a:moveTo>
                  <a:cubicBezTo>
                    <a:pt x="2068334" y="2957180"/>
                    <a:pt x="2249395" y="3143707"/>
                    <a:pt x="2485329" y="3193114"/>
                  </a:cubicBezTo>
                  <a:lnTo>
                    <a:pt x="2485329" y="3774663"/>
                  </a:lnTo>
                  <a:cubicBezTo>
                    <a:pt x="1936689" y="3719779"/>
                    <a:pt x="1497777" y="3280907"/>
                    <a:pt x="1442914" y="2732247"/>
                  </a:cubicBezTo>
                  <a:lnTo>
                    <a:pt x="2018956" y="2732208"/>
                  </a:lnTo>
                  <a:close/>
                  <a:moveTo>
                    <a:pt x="2726731" y="3193114"/>
                  </a:moveTo>
                  <a:cubicBezTo>
                    <a:pt x="2957160" y="3143747"/>
                    <a:pt x="3143688" y="2962686"/>
                    <a:pt x="3193095" y="2726751"/>
                  </a:cubicBezTo>
                  <a:lnTo>
                    <a:pt x="3774643" y="2726751"/>
                  </a:lnTo>
                  <a:cubicBezTo>
                    <a:pt x="3719760" y="3275391"/>
                    <a:pt x="3280887" y="3714303"/>
                    <a:pt x="2732227" y="3769167"/>
                  </a:cubicBezTo>
                  <a:lnTo>
                    <a:pt x="2732188" y="3193124"/>
                  </a:lnTo>
                  <a:close/>
                  <a:moveTo>
                    <a:pt x="3193095" y="2485349"/>
                  </a:moveTo>
                  <a:cubicBezTo>
                    <a:pt x="3143727" y="2254920"/>
                    <a:pt x="2962666" y="2068392"/>
                    <a:pt x="2726731" y="2018985"/>
                  </a:cubicBezTo>
                  <a:lnTo>
                    <a:pt x="2726731" y="1442943"/>
                  </a:lnTo>
                  <a:cubicBezTo>
                    <a:pt x="3275371" y="1497826"/>
                    <a:pt x="3714283" y="1936699"/>
                    <a:pt x="3769147" y="2485359"/>
                  </a:cubicBezTo>
                  <a:close/>
                  <a:moveTo>
                    <a:pt x="2485329" y="680323"/>
                  </a:moveTo>
                  <a:lnTo>
                    <a:pt x="2485329" y="1196055"/>
                  </a:lnTo>
                  <a:cubicBezTo>
                    <a:pt x="1805006" y="1256405"/>
                    <a:pt x="1256376" y="1799579"/>
                    <a:pt x="1201512" y="2479873"/>
                  </a:cubicBezTo>
                  <a:lnTo>
                    <a:pt x="685780" y="2479873"/>
                  </a:lnTo>
                  <a:cubicBezTo>
                    <a:pt x="740664" y="1519752"/>
                    <a:pt x="1519723" y="740684"/>
                    <a:pt x="2485320" y="680333"/>
                  </a:cubicBezTo>
                  <a:close/>
                  <a:moveTo>
                    <a:pt x="680304" y="2726751"/>
                  </a:moveTo>
                  <a:lnTo>
                    <a:pt x="1196035" y="2726751"/>
                  </a:lnTo>
                  <a:cubicBezTo>
                    <a:pt x="1256386" y="3407074"/>
                    <a:pt x="1799559" y="3955704"/>
                    <a:pt x="2479853" y="4010568"/>
                  </a:cubicBezTo>
                  <a:lnTo>
                    <a:pt x="2479853" y="4526300"/>
                  </a:lnTo>
                  <a:cubicBezTo>
                    <a:pt x="1519733" y="4471416"/>
                    <a:pt x="740664" y="3692357"/>
                    <a:pt x="680314" y="2726760"/>
                  </a:cubicBezTo>
                  <a:close/>
                  <a:moveTo>
                    <a:pt x="2726731" y="4531776"/>
                  </a:moveTo>
                  <a:lnTo>
                    <a:pt x="2726731" y="4016045"/>
                  </a:lnTo>
                  <a:cubicBezTo>
                    <a:pt x="3407055" y="3955695"/>
                    <a:pt x="3955685" y="3412521"/>
                    <a:pt x="4010549" y="2732227"/>
                  </a:cubicBezTo>
                  <a:lnTo>
                    <a:pt x="4526280" y="2732227"/>
                  </a:lnTo>
                  <a:cubicBezTo>
                    <a:pt x="4471397" y="3692347"/>
                    <a:pt x="3692338" y="4471416"/>
                    <a:pt x="2726741" y="4531767"/>
                  </a:cubicBezTo>
                  <a:close/>
                </a:path>
              </a:pathLst>
            </a:custGeom>
            <a:solidFill>
              <a:srgbClr val="1F4CB9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15" name="Group 1214">
              <a:extLst>
                <a:ext uri="{FF2B5EF4-FFF2-40B4-BE49-F238E27FC236}">
                  <a16:creationId xmlns:a16="http://schemas.microsoft.com/office/drawing/2014/main" id="{24DF3866-5F11-0843-C356-F40D8FD3C08F}"/>
                </a:ext>
              </a:extLst>
            </p:cNvPr>
            <p:cNvGrpSpPr/>
            <p:nvPr/>
          </p:nvGrpSpPr>
          <p:grpSpPr>
            <a:xfrm>
              <a:off x="4211249" y="6407532"/>
              <a:ext cx="353770" cy="358727"/>
              <a:chOff x="-10155303" y="1726151"/>
              <a:chExt cx="5294975" cy="5369176"/>
            </a:xfrm>
            <a:solidFill>
              <a:schemeClr val="bg1"/>
            </a:solidFill>
          </p:grpSpPr>
          <p:sp>
            <p:nvSpPr>
              <p:cNvPr id="1169" name="Freeform: Shape 1168">
                <a:extLst>
                  <a:ext uri="{FF2B5EF4-FFF2-40B4-BE49-F238E27FC236}">
                    <a16:creationId xmlns:a16="http://schemas.microsoft.com/office/drawing/2014/main" id="{BAD735EF-43A7-4E67-E554-AFFA221E4B39}"/>
                  </a:ext>
                </a:extLst>
              </p:cNvPr>
              <p:cNvSpPr/>
              <p:nvPr/>
            </p:nvSpPr>
            <p:spPr>
              <a:xfrm>
                <a:off x="-8278462" y="3305773"/>
                <a:ext cx="1507848" cy="2176121"/>
              </a:xfrm>
              <a:custGeom>
                <a:avLst/>
                <a:gdLst>
                  <a:gd name="connsiteX0" fmla="*/ 907313 w 1507848"/>
                  <a:gd name="connsiteY0" fmla="*/ 210492 h 2176121"/>
                  <a:gd name="connsiteX1" fmla="*/ 907313 w 1507848"/>
                  <a:gd name="connsiteY1" fmla="*/ 126256 h 2176121"/>
                  <a:gd name="connsiteX2" fmla="*/ 781058 w 1507848"/>
                  <a:gd name="connsiteY2" fmla="*/ 0 h 2176121"/>
                  <a:gd name="connsiteX3" fmla="*/ 654802 w 1507848"/>
                  <a:gd name="connsiteY3" fmla="*/ 126256 h 2176121"/>
                  <a:gd name="connsiteX4" fmla="*/ 654802 w 1507848"/>
                  <a:gd name="connsiteY4" fmla="*/ 210492 h 2176121"/>
                  <a:gd name="connsiteX5" fmla="*/ 573789 w 1507848"/>
                  <a:gd name="connsiteY5" fmla="*/ 210492 h 2176121"/>
                  <a:gd name="connsiteX6" fmla="*/ 313 w 1507848"/>
                  <a:gd name="connsiteY6" fmla="*/ 700349 h 2176121"/>
                  <a:gd name="connsiteX7" fmla="*/ 313 w 1507848"/>
                  <a:gd name="connsiteY7" fmla="*/ 719600 h 2176121"/>
                  <a:gd name="connsiteX8" fmla="*/ 321552 w 1507848"/>
                  <a:gd name="connsiteY8" fmla="*/ 1115277 h 2176121"/>
                  <a:gd name="connsiteX9" fmla="*/ 354686 w 1507848"/>
                  <a:gd name="connsiteY9" fmla="*/ 1126799 h 2176121"/>
                  <a:gd name="connsiteX10" fmla="*/ 374172 w 1507848"/>
                  <a:gd name="connsiteY10" fmla="*/ 1130659 h 2176121"/>
                  <a:gd name="connsiteX11" fmla="*/ 374701 w 1507848"/>
                  <a:gd name="connsiteY11" fmla="*/ 1130777 h 2176121"/>
                  <a:gd name="connsiteX12" fmla="*/ 654802 w 1507848"/>
                  <a:gd name="connsiteY12" fmla="*/ 1186493 h 2176121"/>
                  <a:gd name="connsiteX13" fmla="*/ 654802 w 1507848"/>
                  <a:gd name="connsiteY13" fmla="*/ 1696248 h 2176121"/>
                  <a:gd name="connsiteX14" fmla="*/ 573789 w 1507848"/>
                  <a:gd name="connsiteY14" fmla="*/ 1696248 h 2176121"/>
                  <a:gd name="connsiteX15" fmla="*/ 252511 w 1507848"/>
                  <a:gd name="connsiteY15" fmla="*/ 1458403 h 2176121"/>
                  <a:gd name="connsiteX16" fmla="*/ 126256 w 1507848"/>
                  <a:gd name="connsiteY16" fmla="*/ 1332147 h 2176121"/>
                  <a:gd name="connsiteX17" fmla="*/ 0 w 1507848"/>
                  <a:gd name="connsiteY17" fmla="*/ 1458403 h 2176121"/>
                  <a:gd name="connsiteX18" fmla="*/ 573779 w 1507848"/>
                  <a:gd name="connsiteY18" fmla="*/ 1948760 h 2176121"/>
                  <a:gd name="connsiteX19" fmla="*/ 654792 w 1507848"/>
                  <a:gd name="connsiteY19" fmla="*/ 1948760 h 2176121"/>
                  <a:gd name="connsiteX20" fmla="*/ 654792 w 1507848"/>
                  <a:gd name="connsiteY20" fmla="*/ 2049866 h 2176121"/>
                  <a:gd name="connsiteX21" fmla="*/ 781048 w 1507848"/>
                  <a:gd name="connsiteY21" fmla="*/ 2176122 h 2176121"/>
                  <a:gd name="connsiteX22" fmla="*/ 907303 w 1507848"/>
                  <a:gd name="connsiteY22" fmla="*/ 2049866 h 2176121"/>
                  <a:gd name="connsiteX23" fmla="*/ 907303 w 1507848"/>
                  <a:gd name="connsiteY23" fmla="*/ 1948760 h 2176121"/>
                  <a:gd name="connsiteX24" fmla="*/ 933599 w 1507848"/>
                  <a:gd name="connsiteY24" fmla="*/ 1948760 h 2176121"/>
                  <a:gd name="connsiteX25" fmla="*/ 1507192 w 1507848"/>
                  <a:gd name="connsiteY25" fmla="*/ 1458403 h 2176121"/>
                  <a:gd name="connsiteX26" fmla="*/ 1507192 w 1507848"/>
                  <a:gd name="connsiteY26" fmla="*/ 1438887 h 2176121"/>
                  <a:gd name="connsiteX27" fmla="*/ 1177959 w 1507848"/>
                  <a:gd name="connsiteY27" fmla="*/ 1038125 h 2176121"/>
                  <a:gd name="connsiteX28" fmla="*/ 1164263 w 1507848"/>
                  <a:gd name="connsiteY28" fmla="*/ 1033383 h 2176121"/>
                  <a:gd name="connsiteX29" fmla="*/ 1157101 w 1507848"/>
                  <a:gd name="connsiteY29" fmla="*/ 1030895 h 2176121"/>
                  <a:gd name="connsiteX30" fmla="*/ 1145051 w 1507848"/>
                  <a:gd name="connsiteY30" fmla="*/ 1026682 h 2176121"/>
                  <a:gd name="connsiteX31" fmla="*/ 1140152 w 1507848"/>
                  <a:gd name="connsiteY31" fmla="*/ 1025722 h 2176121"/>
                  <a:gd name="connsiteX32" fmla="*/ 1138506 w 1507848"/>
                  <a:gd name="connsiteY32" fmla="*/ 1025193 h 2176121"/>
                  <a:gd name="connsiteX33" fmla="*/ 907352 w 1507848"/>
                  <a:gd name="connsiteY33" fmla="*/ 979264 h 2176121"/>
                  <a:gd name="connsiteX34" fmla="*/ 907352 w 1507848"/>
                  <a:gd name="connsiteY34" fmla="*/ 463003 h 2176121"/>
                  <a:gd name="connsiteX35" fmla="*/ 933638 w 1507848"/>
                  <a:gd name="connsiteY35" fmla="*/ 463003 h 2176121"/>
                  <a:gd name="connsiteX36" fmla="*/ 1255337 w 1507848"/>
                  <a:gd name="connsiteY36" fmla="*/ 700427 h 2176121"/>
                  <a:gd name="connsiteX37" fmla="*/ 1381593 w 1507848"/>
                  <a:gd name="connsiteY37" fmla="*/ 826683 h 2176121"/>
                  <a:gd name="connsiteX38" fmla="*/ 1507849 w 1507848"/>
                  <a:gd name="connsiteY38" fmla="*/ 700427 h 2176121"/>
                  <a:gd name="connsiteX39" fmla="*/ 933717 w 1507848"/>
                  <a:gd name="connsiteY39" fmla="*/ 210570 h 2176121"/>
                  <a:gd name="connsiteX40" fmla="*/ 907313 w 1507848"/>
                  <a:gd name="connsiteY40" fmla="*/ 210531 h 2176121"/>
                  <a:gd name="connsiteX41" fmla="*/ 1254691 w 1507848"/>
                  <a:gd name="connsiteY41" fmla="*/ 1458452 h 2176121"/>
                  <a:gd name="connsiteX42" fmla="*/ 933609 w 1507848"/>
                  <a:gd name="connsiteY42" fmla="*/ 1696297 h 2176121"/>
                  <a:gd name="connsiteX43" fmla="*/ 907313 w 1507848"/>
                  <a:gd name="connsiteY43" fmla="*/ 1696297 h 2176121"/>
                  <a:gd name="connsiteX44" fmla="*/ 907313 w 1507848"/>
                  <a:gd name="connsiteY44" fmla="*/ 1236752 h 2176121"/>
                  <a:gd name="connsiteX45" fmla="*/ 1077921 w 1507848"/>
                  <a:gd name="connsiteY45" fmla="*/ 1270699 h 2176121"/>
                  <a:gd name="connsiteX46" fmla="*/ 1254691 w 1507848"/>
                  <a:gd name="connsiteY46" fmla="*/ 1438857 h 2176121"/>
                  <a:gd name="connsiteX47" fmla="*/ 654880 w 1507848"/>
                  <a:gd name="connsiteY47" fmla="*/ 929024 h 2176121"/>
                  <a:gd name="connsiteX48" fmla="*/ 421973 w 1507848"/>
                  <a:gd name="connsiteY48" fmla="*/ 882713 h 2176121"/>
                  <a:gd name="connsiteX49" fmla="*/ 252854 w 1507848"/>
                  <a:gd name="connsiteY49" fmla="*/ 719493 h 2176121"/>
                  <a:gd name="connsiteX50" fmla="*/ 252854 w 1507848"/>
                  <a:gd name="connsiteY50" fmla="*/ 700251 h 2176121"/>
                  <a:gd name="connsiteX51" fmla="*/ 573828 w 1507848"/>
                  <a:gd name="connsiteY51" fmla="*/ 462827 h 2176121"/>
                  <a:gd name="connsiteX52" fmla="*/ 654841 w 1507848"/>
                  <a:gd name="connsiteY52" fmla="*/ 462827 h 2176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507848" h="2176121">
                    <a:moveTo>
                      <a:pt x="907313" y="210492"/>
                    </a:moveTo>
                    <a:lnTo>
                      <a:pt x="907313" y="126256"/>
                    </a:lnTo>
                    <a:cubicBezTo>
                      <a:pt x="907313" y="56569"/>
                      <a:pt x="850754" y="0"/>
                      <a:pt x="781058" y="0"/>
                    </a:cubicBezTo>
                    <a:cubicBezTo>
                      <a:pt x="711361" y="0"/>
                      <a:pt x="654802" y="56569"/>
                      <a:pt x="654802" y="126256"/>
                    </a:cubicBezTo>
                    <a:lnTo>
                      <a:pt x="654802" y="210492"/>
                    </a:lnTo>
                    <a:lnTo>
                      <a:pt x="573789" y="210492"/>
                    </a:lnTo>
                    <a:cubicBezTo>
                      <a:pt x="257567" y="210492"/>
                      <a:pt x="313" y="430242"/>
                      <a:pt x="313" y="700349"/>
                    </a:cubicBezTo>
                    <a:lnTo>
                      <a:pt x="313" y="719600"/>
                    </a:lnTo>
                    <a:cubicBezTo>
                      <a:pt x="313" y="872485"/>
                      <a:pt x="108425" y="1005628"/>
                      <a:pt x="321552" y="1115277"/>
                    </a:cubicBezTo>
                    <a:cubicBezTo>
                      <a:pt x="332035" y="1120636"/>
                      <a:pt x="343203" y="1124497"/>
                      <a:pt x="354686" y="1126799"/>
                    </a:cubicBezTo>
                    <a:lnTo>
                      <a:pt x="374172" y="1130659"/>
                    </a:lnTo>
                    <a:cubicBezTo>
                      <a:pt x="374398" y="1130659"/>
                      <a:pt x="374515" y="1130777"/>
                      <a:pt x="374701" y="1130777"/>
                    </a:cubicBezTo>
                    <a:lnTo>
                      <a:pt x="654802" y="1186493"/>
                    </a:lnTo>
                    <a:lnTo>
                      <a:pt x="654802" y="1696248"/>
                    </a:lnTo>
                    <a:lnTo>
                      <a:pt x="573789" y="1696248"/>
                    </a:lnTo>
                    <a:cubicBezTo>
                      <a:pt x="399625" y="1696248"/>
                      <a:pt x="252511" y="1587294"/>
                      <a:pt x="252511" y="1458403"/>
                    </a:cubicBezTo>
                    <a:cubicBezTo>
                      <a:pt x="252511" y="1388716"/>
                      <a:pt x="195943" y="1332147"/>
                      <a:pt x="126256" y="1332147"/>
                    </a:cubicBezTo>
                    <a:cubicBezTo>
                      <a:pt x="56559" y="1332147"/>
                      <a:pt x="0" y="1388716"/>
                      <a:pt x="0" y="1458403"/>
                    </a:cubicBezTo>
                    <a:cubicBezTo>
                      <a:pt x="0" y="1728745"/>
                      <a:pt x="257371" y="1948760"/>
                      <a:pt x="573779" y="1948760"/>
                    </a:cubicBezTo>
                    <a:lnTo>
                      <a:pt x="654792" y="1948760"/>
                    </a:lnTo>
                    <a:lnTo>
                      <a:pt x="654792" y="2049866"/>
                    </a:lnTo>
                    <a:cubicBezTo>
                      <a:pt x="654792" y="2119563"/>
                      <a:pt x="711361" y="2176122"/>
                      <a:pt x="781048" y="2176122"/>
                    </a:cubicBezTo>
                    <a:cubicBezTo>
                      <a:pt x="850745" y="2176122"/>
                      <a:pt x="907303" y="2119563"/>
                      <a:pt x="907303" y="2049866"/>
                    </a:cubicBezTo>
                    <a:lnTo>
                      <a:pt x="907303" y="1948760"/>
                    </a:lnTo>
                    <a:lnTo>
                      <a:pt x="933599" y="1948760"/>
                    </a:lnTo>
                    <a:cubicBezTo>
                      <a:pt x="1249861" y="1948760"/>
                      <a:pt x="1507192" y="1728824"/>
                      <a:pt x="1507192" y="1458403"/>
                    </a:cubicBezTo>
                    <a:lnTo>
                      <a:pt x="1507192" y="1438887"/>
                    </a:lnTo>
                    <a:cubicBezTo>
                      <a:pt x="1507192" y="1333029"/>
                      <a:pt x="1450095" y="1177538"/>
                      <a:pt x="1177959" y="1038125"/>
                    </a:cubicBezTo>
                    <a:cubicBezTo>
                      <a:pt x="1173668" y="1035940"/>
                      <a:pt x="1168848" y="1034990"/>
                      <a:pt x="1164263" y="1033383"/>
                    </a:cubicBezTo>
                    <a:cubicBezTo>
                      <a:pt x="1161961" y="1032345"/>
                      <a:pt x="1159511" y="1031737"/>
                      <a:pt x="1157101" y="1030895"/>
                    </a:cubicBezTo>
                    <a:cubicBezTo>
                      <a:pt x="1153045" y="1029631"/>
                      <a:pt x="1149215" y="1027446"/>
                      <a:pt x="1145051" y="1026682"/>
                    </a:cubicBezTo>
                    <a:lnTo>
                      <a:pt x="1140152" y="1025722"/>
                    </a:lnTo>
                    <a:cubicBezTo>
                      <a:pt x="1139613" y="1025614"/>
                      <a:pt x="1139075" y="1025310"/>
                      <a:pt x="1138506" y="1025193"/>
                    </a:cubicBezTo>
                    <a:lnTo>
                      <a:pt x="907352" y="979264"/>
                    </a:lnTo>
                    <a:lnTo>
                      <a:pt x="907352" y="463003"/>
                    </a:lnTo>
                    <a:lnTo>
                      <a:pt x="933638" y="463003"/>
                    </a:lnTo>
                    <a:cubicBezTo>
                      <a:pt x="1108076" y="463003"/>
                      <a:pt x="1255337" y="571693"/>
                      <a:pt x="1255337" y="700427"/>
                    </a:cubicBezTo>
                    <a:cubicBezTo>
                      <a:pt x="1255337" y="770124"/>
                      <a:pt x="1311906" y="826683"/>
                      <a:pt x="1381593" y="826683"/>
                    </a:cubicBezTo>
                    <a:cubicBezTo>
                      <a:pt x="1451290" y="826683"/>
                      <a:pt x="1507849" y="770124"/>
                      <a:pt x="1507849" y="700427"/>
                    </a:cubicBezTo>
                    <a:cubicBezTo>
                      <a:pt x="1507849" y="430320"/>
                      <a:pt x="1250370" y="210570"/>
                      <a:pt x="933717" y="210570"/>
                    </a:cubicBezTo>
                    <a:lnTo>
                      <a:pt x="907313" y="210531"/>
                    </a:lnTo>
                    <a:close/>
                    <a:moveTo>
                      <a:pt x="1254691" y="1458452"/>
                    </a:moveTo>
                    <a:cubicBezTo>
                      <a:pt x="1254691" y="1587421"/>
                      <a:pt x="1107655" y="1696297"/>
                      <a:pt x="933609" y="1696297"/>
                    </a:cubicBezTo>
                    <a:lnTo>
                      <a:pt x="907313" y="1696297"/>
                    </a:lnTo>
                    <a:lnTo>
                      <a:pt x="907313" y="1236752"/>
                    </a:lnTo>
                    <a:lnTo>
                      <a:pt x="1077921" y="1270699"/>
                    </a:lnTo>
                    <a:cubicBezTo>
                      <a:pt x="1199885" y="1336066"/>
                      <a:pt x="1254691" y="1401658"/>
                      <a:pt x="1254691" y="1438857"/>
                    </a:cubicBezTo>
                    <a:close/>
                    <a:moveTo>
                      <a:pt x="654880" y="929024"/>
                    </a:moveTo>
                    <a:lnTo>
                      <a:pt x="421973" y="882713"/>
                    </a:lnTo>
                    <a:cubicBezTo>
                      <a:pt x="315693" y="825694"/>
                      <a:pt x="252854" y="765226"/>
                      <a:pt x="252854" y="719493"/>
                    </a:cubicBezTo>
                    <a:lnTo>
                      <a:pt x="252854" y="700251"/>
                    </a:lnTo>
                    <a:cubicBezTo>
                      <a:pt x="252854" y="571585"/>
                      <a:pt x="399851" y="462827"/>
                      <a:pt x="573828" y="462827"/>
                    </a:cubicBezTo>
                    <a:lnTo>
                      <a:pt x="654841" y="462827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0" name="Freeform: Shape 1169">
                <a:extLst>
                  <a:ext uri="{FF2B5EF4-FFF2-40B4-BE49-F238E27FC236}">
                    <a16:creationId xmlns:a16="http://schemas.microsoft.com/office/drawing/2014/main" id="{7A6B9EA5-FA71-F35A-911F-18D23138045E}"/>
                  </a:ext>
                </a:extLst>
              </p:cNvPr>
              <p:cNvSpPr/>
              <p:nvPr/>
            </p:nvSpPr>
            <p:spPr>
              <a:xfrm>
                <a:off x="-5951768" y="3839189"/>
                <a:ext cx="1091440" cy="1184572"/>
              </a:xfrm>
              <a:custGeom>
                <a:avLst/>
                <a:gdLst>
                  <a:gd name="connsiteX0" fmla="*/ 184118 w 1091440"/>
                  <a:gd name="connsiteY0" fmla="*/ 370910 h 1184572"/>
                  <a:gd name="connsiteX1" fmla="*/ 259742 w 1091440"/>
                  <a:gd name="connsiteY1" fmla="*/ 594520 h 1184572"/>
                  <a:gd name="connsiteX2" fmla="*/ 0 w 1091440"/>
                  <a:gd name="connsiteY2" fmla="*/ 1058317 h 1184572"/>
                  <a:gd name="connsiteX3" fmla="*/ 126256 w 1091440"/>
                  <a:gd name="connsiteY3" fmla="*/ 1184573 h 1184572"/>
                  <a:gd name="connsiteX4" fmla="*/ 252512 w 1091440"/>
                  <a:gd name="connsiteY4" fmla="*/ 1058317 h 1184572"/>
                  <a:gd name="connsiteX5" fmla="*/ 545779 w 1091440"/>
                  <a:gd name="connsiteY5" fmla="*/ 765167 h 1184572"/>
                  <a:gd name="connsiteX6" fmla="*/ 838929 w 1091440"/>
                  <a:gd name="connsiteY6" fmla="*/ 1058317 h 1184572"/>
                  <a:gd name="connsiteX7" fmla="*/ 965185 w 1091440"/>
                  <a:gd name="connsiteY7" fmla="*/ 1184573 h 1184572"/>
                  <a:gd name="connsiteX8" fmla="*/ 1091441 w 1091440"/>
                  <a:gd name="connsiteY8" fmla="*/ 1058317 h 1184572"/>
                  <a:gd name="connsiteX9" fmla="*/ 844445 w 1091440"/>
                  <a:gd name="connsiteY9" fmla="*/ 602289 h 1184572"/>
                  <a:gd name="connsiteX10" fmla="*/ 925957 w 1091440"/>
                  <a:gd name="connsiteY10" fmla="*/ 370910 h 1184572"/>
                  <a:gd name="connsiteX11" fmla="*/ 555008 w 1091440"/>
                  <a:gd name="connsiteY11" fmla="*/ 0 h 1184572"/>
                  <a:gd name="connsiteX12" fmla="*/ 184137 w 1091440"/>
                  <a:gd name="connsiteY12" fmla="*/ 370910 h 1184572"/>
                  <a:gd name="connsiteX13" fmla="*/ 554920 w 1091440"/>
                  <a:gd name="connsiteY13" fmla="*/ 252463 h 1184572"/>
                  <a:gd name="connsiteX14" fmla="*/ 673446 w 1091440"/>
                  <a:gd name="connsiteY14" fmla="*/ 370871 h 1184572"/>
                  <a:gd name="connsiteX15" fmla="*/ 554920 w 1091440"/>
                  <a:gd name="connsiteY15" fmla="*/ 489465 h 1184572"/>
                  <a:gd name="connsiteX16" fmla="*/ 436629 w 1091440"/>
                  <a:gd name="connsiteY16" fmla="*/ 370871 h 1184572"/>
                  <a:gd name="connsiteX17" fmla="*/ 554920 w 1091440"/>
                  <a:gd name="connsiteY17" fmla="*/ 252463 h 118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91440" h="1184572">
                    <a:moveTo>
                      <a:pt x="184118" y="370910"/>
                    </a:moveTo>
                    <a:cubicBezTo>
                      <a:pt x="184118" y="454950"/>
                      <a:pt x="212510" y="532299"/>
                      <a:pt x="259742" y="594520"/>
                    </a:cubicBezTo>
                    <a:cubicBezTo>
                      <a:pt x="104212" y="690806"/>
                      <a:pt x="0" y="862374"/>
                      <a:pt x="0" y="1058317"/>
                    </a:cubicBezTo>
                    <a:cubicBezTo>
                      <a:pt x="0" y="1128004"/>
                      <a:pt x="56559" y="1184573"/>
                      <a:pt x="126256" y="1184573"/>
                    </a:cubicBezTo>
                    <a:cubicBezTo>
                      <a:pt x="195943" y="1184573"/>
                      <a:pt x="252512" y="1128014"/>
                      <a:pt x="252512" y="1058317"/>
                    </a:cubicBezTo>
                    <a:cubicBezTo>
                      <a:pt x="252512" y="896664"/>
                      <a:pt x="384048" y="765167"/>
                      <a:pt x="545779" y="765167"/>
                    </a:cubicBezTo>
                    <a:cubicBezTo>
                      <a:pt x="707432" y="765167"/>
                      <a:pt x="838929" y="896703"/>
                      <a:pt x="838929" y="1058317"/>
                    </a:cubicBezTo>
                    <a:cubicBezTo>
                      <a:pt x="838929" y="1128004"/>
                      <a:pt x="895488" y="1184573"/>
                      <a:pt x="965185" y="1184573"/>
                    </a:cubicBezTo>
                    <a:cubicBezTo>
                      <a:pt x="1034872" y="1184573"/>
                      <a:pt x="1091441" y="1128014"/>
                      <a:pt x="1091441" y="1058317"/>
                    </a:cubicBezTo>
                    <a:cubicBezTo>
                      <a:pt x="1091441" y="867733"/>
                      <a:pt x="992970" y="699878"/>
                      <a:pt x="844445" y="602289"/>
                    </a:cubicBezTo>
                    <a:cubicBezTo>
                      <a:pt x="895341" y="538794"/>
                      <a:pt x="925957" y="458389"/>
                      <a:pt x="925957" y="370910"/>
                    </a:cubicBezTo>
                    <a:cubicBezTo>
                      <a:pt x="925957" y="166395"/>
                      <a:pt x="759562" y="0"/>
                      <a:pt x="555008" y="0"/>
                    </a:cubicBezTo>
                    <a:cubicBezTo>
                      <a:pt x="350493" y="39"/>
                      <a:pt x="184137" y="166434"/>
                      <a:pt x="184137" y="370910"/>
                    </a:cubicBezTo>
                    <a:close/>
                    <a:moveTo>
                      <a:pt x="554920" y="252463"/>
                    </a:moveTo>
                    <a:cubicBezTo>
                      <a:pt x="620326" y="252463"/>
                      <a:pt x="673446" y="305583"/>
                      <a:pt x="673446" y="370871"/>
                    </a:cubicBezTo>
                    <a:cubicBezTo>
                      <a:pt x="673446" y="436237"/>
                      <a:pt x="620326" y="489465"/>
                      <a:pt x="554920" y="489465"/>
                    </a:cubicBezTo>
                    <a:cubicBezTo>
                      <a:pt x="489671" y="489465"/>
                      <a:pt x="436629" y="436228"/>
                      <a:pt x="436629" y="370871"/>
                    </a:cubicBezTo>
                    <a:cubicBezTo>
                      <a:pt x="436629" y="305622"/>
                      <a:pt x="489593" y="252463"/>
                      <a:pt x="554920" y="252463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1" name="Freeform: Shape 1170">
                <a:extLst>
                  <a:ext uri="{FF2B5EF4-FFF2-40B4-BE49-F238E27FC236}">
                    <a16:creationId xmlns:a16="http://schemas.microsoft.com/office/drawing/2014/main" id="{DF0D74E5-70C9-227F-0AD7-3691607F7A4C}"/>
                  </a:ext>
                </a:extLst>
              </p:cNvPr>
              <p:cNvSpPr/>
              <p:nvPr/>
            </p:nvSpPr>
            <p:spPr>
              <a:xfrm>
                <a:off x="-8011265" y="1726151"/>
                <a:ext cx="1091303" cy="1184650"/>
              </a:xfrm>
              <a:custGeom>
                <a:avLst/>
                <a:gdLst>
                  <a:gd name="connsiteX0" fmla="*/ 126158 w 1091303"/>
                  <a:gd name="connsiteY0" fmla="*/ 1184651 h 1184650"/>
                  <a:gd name="connsiteX1" fmla="*/ 252414 w 1091303"/>
                  <a:gd name="connsiteY1" fmla="*/ 1058395 h 1184650"/>
                  <a:gd name="connsiteX2" fmla="*/ 545603 w 1091303"/>
                  <a:gd name="connsiteY2" fmla="*/ 765206 h 1184650"/>
                  <a:gd name="connsiteX3" fmla="*/ 838792 w 1091303"/>
                  <a:gd name="connsiteY3" fmla="*/ 1058395 h 1184650"/>
                  <a:gd name="connsiteX4" fmla="*/ 965048 w 1091303"/>
                  <a:gd name="connsiteY4" fmla="*/ 1184651 h 1184650"/>
                  <a:gd name="connsiteX5" fmla="*/ 1091304 w 1091303"/>
                  <a:gd name="connsiteY5" fmla="*/ 1058395 h 1184650"/>
                  <a:gd name="connsiteX6" fmla="*/ 844347 w 1091303"/>
                  <a:gd name="connsiteY6" fmla="*/ 602368 h 1184650"/>
                  <a:gd name="connsiteX7" fmla="*/ 925860 w 1091303"/>
                  <a:gd name="connsiteY7" fmla="*/ 371028 h 1184650"/>
                  <a:gd name="connsiteX8" fmla="*/ 554832 w 1091303"/>
                  <a:gd name="connsiteY8" fmla="*/ 0 h 1184650"/>
                  <a:gd name="connsiteX9" fmla="*/ 183804 w 1091303"/>
                  <a:gd name="connsiteY9" fmla="*/ 371028 h 1184650"/>
                  <a:gd name="connsiteX10" fmla="*/ 259546 w 1091303"/>
                  <a:gd name="connsiteY10" fmla="*/ 594638 h 1184650"/>
                  <a:gd name="connsiteX11" fmla="*/ 0 w 1091303"/>
                  <a:gd name="connsiteY11" fmla="*/ 1058317 h 1184650"/>
                  <a:gd name="connsiteX12" fmla="*/ 126177 w 1091303"/>
                  <a:gd name="connsiteY12" fmla="*/ 1184651 h 1184650"/>
                  <a:gd name="connsiteX13" fmla="*/ 554744 w 1091303"/>
                  <a:gd name="connsiteY13" fmla="*/ 252502 h 1184650"/>
                  <a:gd name="connsiteX14" fmla="*/ 673338 w 1091303"/>
                  <a:gd name="connsiteY14" fmla="*/ 371028 h 1184650"/>
                  <a:gd name="connsiteX15" fmla="*/ 554744 w 1091303"/>
                  <a:gd name="connsiteY15" fmla="*/ 489553 h 1184650"/>
                  <a:gd name="connsiteX16" fmla="*/ 436218 w 1091303"/>
                  <a:gd name="connsiteY16" fmla="*/ 371028 h 1184650"/>
                  <a:gd name="connsiteX17" fmla="*/ 554744 w 1091303"/>
                  <a:gd name="connsiteY17" fmla="*/ 252502 h 1184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91303" h="1184650">
                    <a:moveTo>
                      <a:pt x="126158" y="1184651"/>
                    </a:moveTo>
                    <a:cubicBezTo>
                      <a:pt x="195845" y="1184651"/>
                      <a:pt x="252414" y="1128092"/>
                      <a:pt x="252414" y="1058395"/>
                    </a:cubicBezTo>
                    <a:cubicBezTo>
                      <a:pt x="252414" y="896742"/>
                      <a:pt x="383950" y="765206"/>
                      <a:pt x="545603" y="765206"/>
                    </a:cubicBezTo>
                    <a:cubicBezTo>
                      <a:pt x="707256" y="765206"/>
                      <a:pt x="838792" y="896742"/>
                      <a:pt x="838792" y="1058395"/>
                    </a:cubicBezTo>
                    <a:cubicBezTo>
                      <a:pt x="838792" y="1128082"/>
                      <a:pt x="895351" y="1184651"/>
                      <a:pt x="965048" y="1184651"/>
                    </a:cubicBezTo>
                    <a:cubicBezTo>
                      <a:pt x="1034735" y="1184651"/>
                      <a:pt x="1091304" y="1128092"/>
                      <a:pt x="1091304" y="1058395"/>
                    </a:cubicBezTo>
                    <a:cubicBezTo>
                      <a:pt x="1091304" y="867811"/>
                      <a:pt x="992833" y="699957"/>
                      <a:pt x="844347" y="602368"/>
                    </a:cubicBezTo>
                    <a:cubicBezTo>
                      <a:pt x="895244" y="538877"/>
                      <a:pt x="925860" y="458506"/>
                      <a:pt x="925860" y="371028"/>
                    </a:cubicBezTo>
                    <a:cubicBezTo>
                      <a:pt x="925860" y="166473"/>
                      <a:pt x="759347" y="0"/>
                      <a:pt x="554832" y="0"/>
                    </a:cubicBezTo>
                    <a:cubicBezTo>
                      <a:pt x="350199" y="0"/>
                      <a:pt x="183804" y="166473"/>
                      <a:pt x="183804" y="371028"/>
                    </a:cubicBezTo>
                    <a:cubicBezTo>
                      <a:pt x="183804" y="455068"/>
                      <a:pt x="212285" y="532377"/>
                      <a:pt x="259546" y="594638"/>
                    </a:cubicBezTo>
                    <a:cubicBezTo>
                      <a:pt x="104134" y="690925"/>
                      <a:pt x="0" y="862452"/>
                      <a:pt x="0" y="1058317"/>
                    </a:cubicBezTo>
                    <a:cubicBezTo>
                      <a:pt x="-78" y="1128122"/>
                      <a:pt x="56481" y="1184651"/>
                      <a:pt x="126177" y="1184651"/>
                    </a:cubicBezTo>
                    <a:close/>
                    <a:moveTo>
                      <a:pt x="554744" y="252502"/>
                    </a:moveTo>
                    <a:cubicBezTo>
                      <a:pt x="620110" y="252502"/>
                      <a:pt x="673338" y="305659"/>
                      <a:pt x="673338" y="371028"/>
                    </a:cubicBezTo>
                    <a:cubicBezTo>
                      <a:pt x="673338" y="436396"/>
                      <a:pt x="620101" y="489553"/>
                      <a:pt x="554744" y="489553"/>
                    </a:cubicBezTo>
                    <a:cubicBezTo>
                      <a:pt x="489417" y="489592"/>
                      <a:pt x="436218" y="436396"/>
                      <a:pt x="436218" y="371028"/>
                    </a:cubicBezTo>
                    <a:cubicBezTo>
                      <a:pt x="436218" y="305700"/>
                      <a:pt x="489417" y="252502"/>
                      <a:pt x="554744" y="252502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2" name="Freeform: Shape 1171">
                <a:extLst>
                  <a:ext uri="{FF2B5EF4-FFF2-40B4-BE49-F238E27FC236}">
                    <a16:creationId xmlns:a16="http://schemas.microsoft.com/office/drawing/2014/main" id="{ED0BAD0B-891E-DA9E-57FB-C0CAC7F45795}"/>
                  </a:ext>
                </a:extLst>
              </p:cNvPr>
              <p:cNvSpPr/>
              <p:nvPr/>
            </p:nvSpPr>
            <p:spPr>
              <a:xfrm>
                <a:off x="-8011392" y="5910755"/>
                <a:ext cx="1091401" cy="1184572"/>
              </a:xfrm>
              <a:custGeom>
                <a:avLst/>
                <a:gdLst>
                  <a:gd name="connsiteX0" fmla="*/ 0 w 1091401"/>
                  <a:gd name="connsiteY0" fmla="*/ 1058317 h 1184572"/>
                  <a:gd name="connsiteX1" fmla="*/ 126256 w 1091401"/>
                  <a:gd name="connsiteY1" fmla="*/ 1184573 h 1184572"/>
                  <a:gd name="connsiteX2" fmla="*/ 252512 w 1091401"/>
                  <a:gd name="connsiteY2" fmla="*/ 1058317 h 1184572"/>
                  <a:gd name="connsiteX3" fmla="*/ 545701 w 1091401"/>
                  <a:gd name="connsiteY3" fmla="*/ 765128 h 1184572"/>
                  <a:gd name="connsiteX4" fmla="*/ 838890 w 1091401"/>
                  <a:gd name="connsiteY4" fmla="*/ 1058317 h 1184572"/>
                  <a:gd name="connsiteX5" fmla="*/ 965146 w 1091401"/>
                  <a:gd name="connsiteY5" fmla="*/ 1184573 h 1184572"/>
                  <a:gd name="connsiteX6" fmla="*/ 1091402 w 1091401"/>
                  <a:gd name="connsiteY6" fmla="*/ 1058317 h 1184572"/>
                  <a:gd name="connsiteX7" fmla="*/ 844406 w 1091401"/>
                  <a:gd name="connsiteY7" fmla="*/ 602211 h 1184572"/>
                  <a:gd name="connsiteX8" fmla="*/ 925957 w 1091401"/>
                  <a:gd name="connsiteY8" fmla="*/ 370949 h 1184572"/>
                  <a:gd name="connsiteX9" fmla="*/ 554930 w 1091401"/>
                  <a:gd name="connsiteY9" fmla="*/ 0 h 1184572"/>
                  <a:gd name="connsiteX10" fmla="*/ 183902 w 1091401"/>
                  <a:gd name="connsiteY10" fmla="*/ 370949 h 1184572"/>
                  <a:gd name="connsiteX11" fmla="*/ 259752 w 1091401"/>
                  <a:gd name="connsiteY11" fmla="*/ 594520 h 1184572"/>
                  <a:gd name="connsiteX12" fmla="*/ 10 w 1091401"/>
                  <a:gd name="connsiteY12" fmla="*/ 1058317 h 1184572"/>
                  <a:gd name="connsiteX13" fmla="*/ 554842 w 1091401"/>
                  <a:gd name="connsiteY13" fmla="*/ 252384 h 1184572"/>
                  <a:gd name="connsiteX14" fmla="*/ 673436 w 1091401"/>
                  <a:gd name="connsiteY14" fmla="*/ 370910 h 1184572"/>
                  <a:gd name="connsiteX15" fmla="*/ 554842 w 1091401"/>
                  <a:gd name="connsiteY15" fmla="*/ 489201 h 1184572"/>
                  <a:gd name="connsiteX16" fmla="*/ 436247 w 1091401"/>
                  <a:gd name="connsiteY16" fmla="*/ 370910 h 1184572"/>
                  <a:gd name="connsiteX17" fmla="*/ 554842 w 1091401"/>
                  <a:gd name="connsiteY17" fmla="*/ 252384 h 118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91401" h="1184572">
                    <a:moveTo>
                      <a:pt x="0" y="1058317"/>
                    </a:moveTo>
                    <a:cubicBezTo>
                      <a:pt x="0" y="1128004"/>
                      <a:pt x="56559" y="1184573"/>
                      <a:pt x="126256" y="1184573"/>
                    </a:cubicBezTo>
                    <a:cubicBezTo>
                      <a:pt x="195943" y="1184573"/>
                      <a:pt x="252512" y="1128014"/>
                      <a:pt x="252512" y="1058317"/>
                    </a:cubicBezTo>
                    <a:cubicBezTo>
                      <a:pt x="252512" y="896625"/>
                      <a:pt x="384048" y="765128"/>
                      <a:pt x="545701" y="765128"/>
                    </a:cubicBezTo>
                    <a:cubicBezTo>
                      <a:pt x="707354" y="765128"/>
                      <a:pt x="838890" y="896664"/>
                      <a:pt x="838890" y="1058317"/>
                    </a:cubicBezTo>
                    <a:cubicBezTo>
                      <a:pt x="838890" y="1128004"/>
                      <a:pt x="895449" y="1184573"/>
                      <a:pt x="965146" y="1184573"/>
                    </a:cubicBezTo>
                    <a:cubicBezTo>
                      <a:pt x="1034833" y="1184573"/>
                      <a:pt x="1091402" y="1128014"/>
                      <a:pt x="1091402" y="1058317"/>
                    </a:cubicBezTo>
                    <a:cubicBezTo>
                      <a:pt x="1091402" y="867694"/>
                      <a:pt x="992931" y="699839"/>
                      <a:pt x="844406" y="602211"/>
                    </a:cubicBezTo>
                    <a:cubicBezTo>
                      <a:pt x="895341" y="538725"/>
                      <a:pt x="925957" y="458350"/>
                      <a:pt x="925957" y="370949"/>
                    </a:cubicBezTo>
                    <a:cubicBezTo>
                      <a:pt x="925957" y="166316"/>
                      <a:pt x="759445" y="0"/>
                      <a:pt x="554930" y="0"/>
                    </a:cubicBezTo>
                    <a:cubicBezTo>
                      <a:pt x="350297" y="0"/>
                      <a:pt x="183902" y="166395"/>
                      <a:pt x="183902" y="370949"/>
                    </a:cubicBezTo>
                    <a:cubicBezTo>
                      <a:pt x="183902" y="454989"/>
                      <a:pt x="212412" y="532338"/>
                      <a:pt x="259752" y="594520"/>
                    </a:cubicBezTo>
                    <a:cubicBezTo>
                      <a:pt x="104144" y="690846"/>
                      <a:pt x="10" y="862374"/>
                      <a:pt x="10" y="1058317"/>
                    </a:cubicBezTo>
                    <a:close/>
                    <a:moveTo>
                      <a:pt x="554842" y="252384"/>
                    </a:moveTo>
                    <a:cubicBezTo>
                      <a:pt x="620208" y="252384"/>
                      <a:pt x="673436" y="305544"/>
                      <a:pt x="673436" y="370910"/>
                    </a:cubicBezTo>
                    <a:cubicBezTo>
                      <a:pt x="673436" y="436081"/>
                      <a:pt x="620199" y="489201"/>
                      <a:pt x="554842" y="489201"/>
                    </a:cubicBezTo>
                    <a:cubicBezTo>
                      <a:pt x="489485" y="489201"/>
                      <a:pt x="436247" y="436081"/>
                      <a:pt x="436247" y="370910"/>
                    </a:cubicBezTo>
                    <a:cubicBezTo>
                      <a:pt x="436326" y="305583"/>
                      <a:pt x="489524" y="252384"/>
                      <a:pt x="554842" y="252384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3" name="Freeform: Shape 1172">
                <a:extLst>
                  <a:ext uri="{FF2B5EF4-FFF2-40B4-BE49-F238E27FC236}">
                    <a16:creationId xmlns:a16="http://schemas.microsoft.com/office/drawing/2014/main" id="{11DF86A6-B14F-08EE-FEF5-EAE32B309DA8}"/>
                  </a:ext>
                </a:extLst>
              </p:cNvPr>
              <p:cNvSpPr/>
              <p:nvPr/>
            </p:nvSpPr>
            <p:spPr>
              <a:xfrm>
                <a:off x="-10155303" y="3839179"/>
                <a:ext cx="1091492" cy="1184572"/>
              </a:xfrm>
              <a:custGeom>
                <a:avLst/>
                <a:gdLst>
                  <a:gd name="connsiteX0" fmla="*/ 126082 w 1091492"/>
                  <a:gd name="connsiteY0" fmla="*/ 1184573 h 1184572"/>
                  <a:gd name="connsiteX1" fmla="*/ 252338 w 1091492"/>
                  <a:gd name="connsiteY1" fmla="*/ 1058317 h 1184572"/>
                  <a:gd name="connsiteX2" fmla="*/ 545713 w 1091492"/>
                  <a:gd name="connsiteY2" fmla="*/ 765167 h 1184572"/>
                  <a:gd name="connsiteX3" fmla="*/ 838981 w 1091492"/>
                  <a:gd name="connsiteY3" fmla="*/ 1058317 h 1184572"/>
                  <a:gd name="connsiteX4" fmla="*/ 965236 w 1091492"/>
                  <a:gd name="connsiteY4" fmla="*/ 1184573 h 1184572"/>
                  <a:gd name="connsiteX5" fmla="*/ 1091492 w 1091492"/>
                  <a:gd name="connsiteY5" fmla="*/ 1058317 h 1184572"/>
                  <a:gd name="connsiteX6" fmla="*/ 844496 w 1091492"/>
                  <a:gd name="connsiteY6" fmla="*/ 602289 h 1184572"/>
                  <a:gd name="connsiteX7" fmla="*/ 926009 w 1091492"/>
                  <a:gd name="connsiteY7" fmla="*/ 370910 h 1184572"/>
                  <a:gd name="connsiteX8" fmla="*/ 555059 w 1091492"/>
                  <a:gd name="connsiteY8" fmla="*/ 0 h 1184572"/>
                  <a:gd name="connsiteX9" fmla="*/ 184113 w 1091492"/>
                  <a:gd name="connsiteY9" fmla="*/ 370910 h 1184572"/>
                  <a:gd name="connsiteX10" fmla="*/ 259852 w 1091492"/>
                  <a:gd name="connsiteY10" fmla="*/ 594520 h 1184572"/>
                  <a:gd name="connsiteX11" fmla="*/ 0 w 1091492"/>
                  <a:gd name="connsiteY11" fmla="*/ 1058317 h 1184572"/>
                  <a:gd name="connsiteX12" fmla="*/ 126099 w 1091492"/>
                  <a:gd name="connsiteY12" fmla="*/ 1184573 h 1184572"/>
                  <a:gd name="connsiteX13" fmla="*/ 554903 w 1091492"/>
                  <a:gd name="connsiteY13" fmla="*/ 252423 h 1184572"/>
                  <a:gd name="connsiteX14" fmla="*/ 673429 w 1091492"/>
                  <a:gd name="connsiteY14" fmla="*/ 370832 h 1184572"/>
                  <a:gd name="connsiteX15" fmla="*/ 554903 w 1091492"/>
                  <a:gd name="connsiteY15" fmla="*/ 489426 h 1184572"/>
                  <a:gd name="connsiteX16" fmla="*/ 436377 w 1091492"/>
                  <a:gd name="connsiteY16" fmla="*/ 370832 h 1184572"/>
                  <a:gd name="connsiteX17" fmla="*/ 554903 w 1091492"/>
                  <a:gd name="connsiteY17" fmla="*/ 252423 h 118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91492" h="1184572">
                    <a:moveTo>
                      <a:pt x="126082" y="1184573"/>
                    </a:moveTo>
                    <a:cubicBezTo>
                      <a:pt x="195769" y="1184573"/>
                      <a:pt x="252338" y="1128014"/>
                      <a:pt x="252338" y="1058317"/>
                    </a:cubicBezTo>
                    <a:cubicBezTo>
                      <a:pt x="252338" y="896664"/>
                      <a:pt x="383952" y="765167"/>
                      <a:pt x="545713" y="765167"/>
                    </a:cubicBezTo>
                    <a:cubicBezTo>
                      <a:pt x="707474" y="765167"/>
                      <a:pt x="838981" y="896703"/>
                      <a:pt x="838981" y="1058317"/>
                    </a:cubicBezTo>
                    <a:cubicBezTo>
                      <a:pt x="838981" y="1128004"/>
                      <a:pt x="895539" y="1184573"/>
                      <a:pt x="965236" y="1184573"/>
                    </a:cubicBezTo>
                    <a:cubicBezTo>
                      <a:pt x="1034923" y="1184573"/>
                      <a:pt x="1091492" y="1128014"/>
                      <a:pt x="1091492" y="1058317"/>
                    </a:cubicBezTo>
                    <a:cubicBezTo>
                      <a:pt x="1091492" y="867733"/>
                      <a:pt x="993021" y="699879"/>
                      <a:pt x="844496" y="602289"/>
                    </a:cubicBezTo>
                    <a:cubicBezTo>
                      <a:pt x="895393" y="538794"/>
                      <a:pt x="926009" y="458389"/>
                      <a:pt x="926009" y="370910"/>
                    </a:cubicBezTo>
                    <a:cubicBezTo>
                      <a:pt x="926009" y="166395"/>
                      <a:pt x="759614" y="0"/>
                      <a:pt x="555059" y="0"/>
                    </a:cubicBezTo>
                    <a:cubicBezTo>
                      <a:pt x="350505" y="0"/>
                      <a:pt x="184113" y="166395"/>
                      <a:pt x="184113" y="370910"/>
                    </a:cubicBezTo>
                    <a:cubicBezTo>
                      <a:pt x="184113" y="454950"/>
                      <a:pt x="212591" y="532298"/>
                      <a:pt x="259852" y="594520"/>
                    </a:cubicBezTo>
                    <a:cubicBezTo>
                      <a:pt x="104242" y="690806"/>
                      <a:pt x="0" y="862374"/>
                      <a:pt x="0" y="1058317"/>
                    </a:cubicBezTo>
                    <a:cubicBezTo>
                      <a:pt x="-153" y="1128004"/>
                      <a:pt x="56334" y="1184573"/>
                      <a:pt x="126099" y="1184573"/>
                    </a:cubicBezTo>
                    <a:close/>
                    <a:moveTo>
                      <a:pt x="554903" y="252423"/>
                    </a:moveTo>
                    <a:cubicBezTo>
                      <a:pt x="620269" y="252423"/>
                      <a:pt x="673429" y="305543"/>
                      <a:pt x="673429" y="370832"/>
                    </a:cubicBezTo>
                    <a:cubicBezTo>
                      <a:pt x="673429" y="436198"/>
                      <a:pt x="620269" y="489426"/>
                      <a:pt x="554903" y="489426"/>
                    </a:cubicBezTo>
                    <a:cubicBezTo>
                      <a:pt x="489614" y="489426"/>
                      <a:pt x="436377" y="436188"/>
                      <a:pt x="436377" y="370832"/>
                    </a:cubicBezTo>
                    <a:cubicBezTo>
                      <a:pt x="436377" y="305583"/>
                      <a:pt x="489614" y="252423"/>
                      <a:pt x="554903" y="252423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4" name="Freeform: Shape 1173">
                <a:extLst>
                  <a:ext uri="{FF2B5EF4-FFF2-40B4-BE49-F238E27FC236}">
                    <a16:creationId xmlns:a16="http://schemas.microsoft.com/office/drawing/2014/main" id="{FA14FE7B-2688-F2E7-337C-C0B20799C6E5}"/>
                  </a:ext>
                </a:extLst>
              </p:cNvPr>
              <p:cNvSpPr/>
              <p:nvPr/>
            </p:nvSpPr>
            <p:spPr>
              <a:xfrm>
                <a:off x="-9604112" y="5149192"/>
                <a:ext cx="1491108" cy="1425201"/>
              </a:xfrm>
              <a:custGeom>
                <a:avLst/>
                <a:gdLst>
                  <a:gd name="connsiteX0" fmla="*/ 1407555 w 1491108"/>
                  <a:gd name="connsiteY0" fmla="*/ 1180126 h 1425201"/>
                  <a:gd name="connsiteX1" fmla="*/ 242478 w 1491108"/>
                  <a:gd name="connsiteY1" fmla="*/ 76968 h 1425201"/>
                  <a:gd name="connsiteX2" fmla="*/ 77034 w 1491108"/>
                  <a:gd name="connsiteY2" fmla="*/ 10034 h 1425201"/>
                  <a:gd name="connsiteX3" fmla="*/ 10061 w 1491108"/>
                  <a:gd name="connsiteY3" fmla="*/ 175478 h 1425201"/>
                  <a:gd name="connsiteX4" fmla="*/ 1322094 w 1491108"/>
                  <a:gd name="connsiteY4" fmla="*/ 1417658 h 1425201"/>
                  <a:gd name="connsiteX5" fmla="*/ 1364839 w 1491108"/>
                  <a:gd name="connsiteY5" fmla="*/ 1425202 h 1425201"/>
                  <a:gd name="connsiteX6" fmla="*/ 1483669 w 1491108"/>
                  <a:gd name="connsiteY6" fmla="*/ 1341691 h 1425201"/>
                  <a:gd name="connsiteX7" fmla="*/ 1407555 w 1491108"/>
                  <a:gd name="connsiteY7" fmla="*/ 1180117 h 142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91108" h="1425201">
                    <a:moveTo>
                      <a:pt x="1407555" y="1180126"/>
                    </a:moveTo>
                    <a:cubicBezTo>
                      <a:pt x="884289" y="991649"/>
                      <a:pt x="459681" y="589584"/>
                      <a:pt x="242478" y="76968"/>
                    </a:cubicBezTo>
                    <a:cubicBezTo>
                      <a:pt x="215311" y="12748"/>
                      <a:pt x="141176" y="-17134"/>
                      <a:pt x="77034" y="10034"/>
                    </a:cubicBezTo>
                    <a:cubicBezTo>
                      <a:pt x="12814" y="37201"/>
                      <a:pt x="-17185" y="111336"/>
                      <a:pt x="10061" y="175478"/>
                    </a:cubicBezTo>
                    <a:cubicBezTo>
                      <a:pt x="254647" y="752706"/>
                      <a:pt x="732826" y="1205452"/>
                      <a:pt x="1322094" y="1417658"/>
                    </a:cubicBezTo>
                    <a:cubicBezTo>
                      <a:pt x="1336222" y="1422713"/>
                      <a:pt x="1350682" y="1425202"/>
                      <a:pt x="1364839" y="1425202"/>
                    </a:cubicBezTo>
                    <a:cubicBezTo>
                      <a:pt x="1416588" y="1425202"/>
                      <a:pt x="1465103" y="1393165"/>
                      <a:pt x="1483669" y="1341691"/>
                    </a:cubicBezTo>
                    <a:cubicBezTo>
                      <a:pt x="1507172" y="1276099"/>
                      <a:pt x="1473147" y="1203767"/>
                      <a:pt x="1407555" y="1180117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5" name="Freeform: Shape 1174">
                <a:extLst>
                  <a:ext uri="{FF2B5EF4-FFF2-40B4-BE49-F238E27FC236}">
                    <a16:creationId xmlns:a16="http://schemas.microsoft.com/office/drawing/2014/main" id="{A50EE06D-5007-0274-B2B4-FA680CCDF021}"/>
                  </a:ext>
                </a:extLst>
              </p:cNvPr>
              <p:cNvSpPr/>
              <p:nvPr/>
            </p:nvSpPr>
            <p:spPr>
              <a:xfrm>
                <a:off x="-6786765" y="5044836"/>
                <a:ext cx="1396538" cy="1475173"/>
              </a:xfrm>
              <a:custGeom>
                <a:avLst/>
                <a:gdLst>
                  <a:gd name="connsiteX0" fmla="*/ 1313323 w 1396538"/>
                  <a:gd name="connsiteY0" fmla="*/ 7620 h 1475173"/>
                  <a:gd name="connsiteX1" fmla="*/ 1151631 w 1396538"/>
                  <a:gd name="connsiteY1" fmla="*/ 83245 h 1475173"/>
                  <a:gd name="connsiteX2" fmla="*/ 75317 w 1396538"/>
                  <a:gd name="connsiteY2" fmla="*/ 1233429 h 1475173"/>
                  <a:gd name="connsiteX3" fmla="*/ 10754 w 1396538"/>
                  <a:gd name="connsiteY3" fmla="*/ 1399824 h 1475173"/>
                  <a:gd name="connsiteX4" fmla="*/ 126331 w 1396538"/>
                  <a:gd name="connsiteY4" fmla="*/ 1475174 h 1475173"/>
                  <a:gd name="connsiteX5" fmla="*/ 177227 w 1396538"/>
                  <a:gd name="connsiteY5" fmla="*/ 1464456 h 1475173"/>
                  <a:gd name="connsiteX6" fmla="*/ 1388938 w 1396538"/>
                  <a:gd name="connsiteY6" fmla="*/ 169273 h 1475173"/>
                  <a:gd name="connsiteX7" fmla="*/ 1313323 w 1396538"/>
                  <a:gd name="connsiteY7" fmla="*/ 7542 h 1475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6538" h="1475173">
                    <a:moveTo>
                      <a:pt x="1313323" y="7620"/>
                    </a:moveTo>
                    <a:cubicBezTo>
                      <a:pt x="1247731" y="-16186"/>
                      <a:pt x="1175399" y="17643"/>
                      <a:pt x="1151631" y="83245"/>
                    </a:cubicBezTo>
                    <a:cubicBezTo>
                      <a:pt x="966171" y="594459"/>
                      <a:pt x="573942" y="1013709"/>
                      <a:pt x="75317" y="1233429"/>
                    </a:cubicBezTo>
                    <a:cubicBezTo>
                      <a:pt x="11479" y="1261596"/>
                      <a:pt x="-17335" y="1336035"/>
                      <a:pt x="10754" y="1399824"/>
                    </a:cubicBezTo>
                    <a:cubicBezTo>
                      <a:pt x="31612" y="1447046"/>
                      <a:pt x="77805" y="1475174"/>
                      <a:pt x="126331" y="1475174"/>
                    </a:cubicBezTo>
                    <a:cubicBezTo>
                      <a:pt x="143329" y="1475174"/>
                      <a:pt x="160582" y="1471735"/>
                      <a:pt x="177227" y="1464456"/>
                    </a:cubicBezTo>
                    <a:cubicBezTo>
                      <a:pt x="738574" y="1216960"/>
                      <a:pt x="1180160" y="744905"/>
                      <a:pt x="1388938" y="169273"/>
                    </a:cubicBezTo>
                    <a:cubicBezTo>
                      <a:pt x="1412706" y="103681"/>
                      <a:pt x="1378876" y="31271"/>
                      <a:pt x="1313323" y="7542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6" name="Freeform: Shape 1175">
                <a:extLst>
                  <a:ext uri="{FF2B5EF4-FFF2-40B4-BE49-F238E27FC236}">
                    <a16:creationId xmlns:a16="http://schemas.microsoft.com/office/drawing/2014/main" id="{2F96E2FD-73C6-D1E5-655B-64BA05807E2C}"/>
                  </a:ext>
                </a:extLst>
              </p:cNvPr>
              <p:cNvSpPr/>
              <p:nvPr/>
            </p:nvSpPr>
            <p:spPr>
              <a:xfrm>
                <a:off x="-6856756" y="2341563"/>
                <a:ext cx="1341547" cy="1225029"/>
              </a:xfrm>
              <a:custGeom>
                <a:avLst/>
                <a:gdLst>
                  <a:gd name="connsiteX0" fmla="*/ 79707 w 1341547"/>
                  <a:gd name="connsiteY0" fmla="*/ 243591 h 1225029"/>
                  <a:gd name="connsiteX1" fmla="*/ 1104096 w 1341547"/>
                  <a:gd name="connsiteY1" fmla="*/ 1158478 h 1225029"/>
                  <a:gd name="connsiteX2" fmla="*/ 1215460 w 1341547"/>
                  <a:gd name="connsiteY2" fmla="*/ 1225030 h 1225029"/>
                  <a:gd name="connsiteX3" fmla="*/ 1275007 w 1341547"/>
                  <a:gd name="connsiteY3" fmla="*/ 1209952 h 1225029"/>
                  <a:gd name="connsiteX4" fmla="*/ 1326482 w 1341547"/>
                  <a:gd name="connsiteY4" fmla="*/ 1039041 h 1225029"/>
                  <a:gd name="connsiteX5" fmla="*/ 172868 w 1341547"/>
                  <a:gd name="connsiteY5" fmla="*/ 8968 h 1225029"/>
                  <a:gd name="connsiteX6" fmla="*/ 8962 w 1341547"/>
                  <a:gd name="connsiteY6" fmla="*/ 79576 h 1225029"/>
                  <a:gd name="connsiteX7" fmla="*/ 79687 w 1341547"/>
                  <a:gd name="connsiteY7" fmla="*/ 243561 h 1225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41547" h="1225029">
                    <a:moveTo>
                      <a:pt x="79707" y="243591"/>
                    </a:moveTo>
                    <a:cubicBezTo>
                      <a:pt x="516944" y="417608"/>
                      <a:pt x="880780" y="742481"/>
                      <a:pt x="1104096" y="1158478"/>
                    </a:cubicBezTo>
                    <a:cubicBezTo>
                      <a:pt x="1126865" y="1200919"/>
                      <a:pt x="1170452" y="1225030"/>
                      <a:pt x="1215460" y="1225030"/>
                    </a:cubicBezTo>
                    <a:cubicBezTo>
                      <a:pt x="1235593" y="1225030"/>
                      <a:pt x="1256099" y="1220131"/>
                      <a:pt x="1275007" y="1209952"/>
                    </a:cubicBezTo>
                    <a:cubicBezTo>
                      <a:pt x="1336504" y="1176965"/>
                      <a:pt x="1359469" y="1100459"/>
                      <a:pt x="1326482" y="1039041"/>
                    </a:cubicBezTo>
                    <a:cubicBezTo>
                      <a:pt x="1075008" y="570688"/>
                      <a:pt x="665331" y="204940"/>
                      <a:pt x="172868" y="8968"/>
                    </a:cubicBezTo>
                    <a:cubicBezTo>
                      <a:pt x="108226" y="-16788"/>
                      <a:pt x="34748" y="14824"/>
                      <a:pt x="8962" y="79576"/>
                    </a:cubicBezTo>
                    <a:cubicBezTo>
                      <a:pt x="-16795" y="144368"/>
                      <a:pt x="14859" y="217804"/>
                      <a:pt x="79687" y="243561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7" name="Freeform: Shape 1176">
                <a:extLst>
                  <a:ext uri="{FF2B5EF4-FFF2-40B4-BE49-F238E27FC236}">
                    <a16:creationId xmlns:a16="http://schemas.microsoft.com/office/drawing/2014/main" id="{36555E73-C833-046E-8871-49F2A51EEA77}"/>
                  </a:ext>
                </a:extLst>
              </p:cNvPr>
              <p:cNvSpPr/>
              <p:nvPr/>
            </p:nvSpPr>
            <p:spPr>
              <a:xfrm>
                <a:off x="-9567601" y="2311435"/>
                <a:ext cx="1469130" cy="1348848"/>
              </a:xfrm>
              <a:custGeom>
                <a:avLst/>
                <a:gdLst>
                  <a:gd name="connsiteX0" fmla="*/ 72138 w 1469130"/>
                  <a:gd name="connsiteY0" fmla="*/ 1336602 h 1348848"/>
                  <a:gd name="connsiteX1" fmla="*/ 126179 w 1469130"/>
                  <a:gd name="connsiteY1" fmla="*/ 1348848 h 1348848"/>
                  <a:gd name="connsiteX2" fmla="*/ 240296 w 1469130"/>
                  <a:gd name="connsiteY2" fmla="*/ 1276751 h 1348848"/>
                  <a:gd name="connsiteX3" fmla="*/ 1384798 w 1469130"/>
                  <a:gd name="connsiteY3" fmla="*/ 245304 h 1348848"/>
                  <a:gd name="connsiteX4" fmla="*/ 1461912 w 1469130"/>
                  <a:gd name="connsiteY4" fmla="*/ 84337 h 1348848"/>
                  <a:gd name="connsiteX5" fmla="*/ 1300945 w 1469130"/>
                  <a:gd name="connsiteY5" fmla="*/ 7185 h 1348848"/>
                  <a:gd name="connsiteX6" fmla="*/ 12228 w 1469130"/>
                  <a:gd name="connsiteY6" fmla="*/ 1168444 h 1348848"/>
                  <a:gd name="connsiteX7" fmla="*/ 72118 w 1469130"/>
                  <a:gd name="connsiteY7" fmla="*/ 1336641 h 1348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69130" h="1348848">
                    <a:moveTo>
                      <a:pt x="72138" y="1336602"/>
                    </a:moveTo>
                    <a:cubicBezTo>
                      <a:pt x="89547" y="1344910"/>
                      <a:pt x="108074" y="1348848"/>
                      <a:pt x="126179" y="1348848"/>
                    </a:cubicBezTo>
                    <a:cubicBezTo>
                      <a:pt x="173401" y="1348848"/>
                      <a:pt x="218674" y="1322249"/>
                      <a:pt x="240296" y="1276751"/>
                    </a:cubicBezTo>
                    <a:cubicBezTo>
                      <a:pt x="468080" y="797152"/>
                      <a:pt x="885222" y="421226"/>
                      <a:pt x="1384798" y="245304"/>
                    </a:cubicBezTo>
                    <a:cubicBezTo>
                      <a:pt x="1450576" y="222151"/>
                      <a:pt x="1485101" y="150050"/>
                      <a:pt x="1461912" y="84337"/>
                    </a:cubicBezTo>
                    <a:cubicBezTo>
                      <a:pt x="1438751" y="18551"/>
                      <a:pt x="1366772" y="-15927"/>
                      <a:pt x="1300945" y="7185"/>
                    </a:cubicBezTo>
                    <a:cubicBezTo>
                      <a:pt x="738334" y="205312"/>
                      <a:pt x="268620" y="628543"/>
                      <a:pt x="12228" y="1168444"/>
                    </a:cubicBezTo>
                    <a:cubicBezTo>
                      <a:pt x="-17663" y="1231430"/>
                      <a:pt x="9123" y="1306711"/>
                      <a:pt x="72118" y="1336641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271" name="Group 1270">
              <a:extLst>
                <a:ext uri="{FF2B5EF4-FFF2-40B4-BE49-F238E27FC236}">
                  <a16:creationId xmlns:a16="http://schemas.microsoft.com/office/drawing/2014/main" id="{316411F0-4DAC-FD8A-AB20-83EED5821C40}"/>
                </a:ext>
              </a:extLst>
            </p:cNvPr>
            <p:cNvGrpSpPr/>
            <p:nvPr/>
          </p:nvGrpSpPr>
          <p:grpSpPr>
            <a:xfrm>
              <a:off x="4197297" y="8124982"/>
              <a:ext cx="362596" cy="256336"/>
              <a:chOff x="-6774059" y="2970921"/>
              <a:chExt cx="4818960" cy="3406750"/>
            </a:xfrm>
            <a:solidFill>
              <a:schemeClr val="bg1"/>
            </a:solidFill>
          </p:grpSpPr>
          <p:sp>
            <p:nvSpPr>
              <p:cNvPr id="1219" name="Freeform: Shape 1218">
                <a:extLst>
                  <a:ext uri="{FF2B5EF4-FFF2-40B4-BE49-F238E27FC236}">
                    <a16:creationId xmlns:a16="http://schemas.microsoft.com/office/drawing/2014/main" id="{6C54CA9A-B680-8B44-72FB-61E3FE55BC27}"/>
                  </a:ext>
                </a:extLst>
              </p:cNvPr>
              <p:cNvSpPr/>
              <p:nvPr/>
            </p:nvSpPr>
            <p:spPr>
              <a:xfrm>
                <a:off x="-6774059" y="2970921"/>
                <a:ext cx="4069204" cy="3406750"/>
              </a:xfrm>
              <a:custGeom>
                <a:avLst/>
                <a:gdLst>
                  <a:gd name="connsiteX0" fmla="*/ 1693593 w 4069204"/>
                  <a:gd name="connsiteY0" fmla="*/ 3406555 h 3406750"/>
                  <a:gd name="connsiteX1" fmla="*/ 1695200 w 4069204"/>
                  <a:gd name="connsiteY1" fmla="*/ 3406555 h 3406750"/>
                  <a:gd name="connsiteX2" fmla="*/ 2698525 w 4069204"/>
                  <a:gd name="connsiteY2" fmla="*/ 3076861 h 3406750"/>
                  <a:gd name="connsiteX3" fmla="*/ 3316205 w 4069204"/>
                  <a:gd name="connsiteY3" fmla="*/ 2220150 h 3406750"/>
                  <a:gd name="connsiteX4" fmla="*/ 3986888 w 4069204"/>
                  <a:gd name="connsiteY4" fmla="*/ 2220150 h 3406750"/>
                  <a:gd name="connsiteX5" fmla="*/ 4069204 w 4069204"/>
                  <a:gd name="connsiteY5" fmla="*/ 2137874 h 3406750"/>
                  <a:gd name="connsiteX6" fmla="*/ 3986888 w 4069204"/>
                  <a:gd name="connsiteY6" fmla="*/ 2055588 h 3406750"/>
                  <a:gd name="connsiteX7" fmla="*/ 2816914 w 4069204"/>
                  <a:gd name="connsiteY7" fmla="*/ 2055588 h 3406750"/>
                  <a:gd name="connsiteX8" fmla="*/ 2734637 w 4069204"/>
                  <a:gd name="connsiteY8" fmla="*/ 2137874 h 3406750"/>
                  <a:gd name="connsiteX9" fmla="*/ 2816914 w 4069204"/>
                  <a:gd name="connsiteY9" fmla="*/ 2220150 h 3406750"/>
                  <a:gd name="connsiteX10" fmla="*/ 3143276 w 4069204"/>
                  <a:gd name="connsiteY10" fmla="*/ 2220150 h 3406750"/>
                  <a:gd name="connsiteX11" fmla="*/ 2613270 w 4069204"/>
                  <a:gd name="connsiteY11" fmla="*/ 2935146 h 3406750"/>
                  <a:gd name="connsiteX12" fmla="*/ 1776575 w 4069204"/>
                  <a:gd name="connsiteY12" fmla="*/ 3238554 h 3406750"/>
                  <a:gd name="connsiteX13" fmla="*/ 1776575 w 4069204"/>
                  <a:gd name="connsiteY13" fmla="*/ 2858758 h 3406750"/>
                  <a:gd name="connsiteX14" fmla="*/ 1694298 w 4069204"/>
                  <a:gd name="connsiteY14" fmla="*/ 2776481 h 3406750"/>
                  <a:gd name="connsiteX15" fmla="*/ 1611973 w 4069204"/>
                  <a:gd name="connsiteY15" fmla="*/ 2858758 h 3406750"/>
                  <a:gd name="connsiteX16" fmla="*/ 1611973 w 4069204"/>
                  <a:gd name="connsiteY16" fmla="*/ 3239700 h 3406750"/>
                  <a:gd name="connsiteX17" fmla="*/ 606786 w 4069204"/>
                  <a:gd name="connsiteY17" fmla="*/ 2790716 h 3406750"/>
                  <a:gd name="connsiteX18" fmla="*/ 157763 w 4069204"/>
                  <a:gd name="connsiteY18" fmla="*/ 1785529 h 3406750"/>
                  <a:gd name="connsiteX19" fmla="*/ 538745 w 4069204"/>
                  <a:gd name="connsiteY19" fmla="*/ 1785529 h 3406750"/>
                  <a:gd name="connsiteX20" fmla="*/ 621031 w 4069204"/>
                  <a:gd name="connsiteY20" fmla="*/ 1703253 h 3406750"/>
                  <a:gd name="connsiteX21" fmla="*/ 538745 w 4069204"/>
                  <a:gd name="connsiteY21" fmla="*/ 1620967 h 3406750"/>
                  <a:gd name="connsiteX22" fmla="*/ 157763 w 4069204"/>
                  <a:gd name="connsiteY22" fmla="*/ 1620967 h 3406750"/>
                  <a:gd name="connsiteX23" fmla="*/ 606786 w 4069204"/>
                  <a:gd name="connsiteY23" fmla="*/ 615682 h 3406750"/>
                  <a:gd name="connsiteX24" fmla="*/ 1611973 w 4069204"/>
                  <a:gd name="connsiteY24" fmla="*/ 166698 h 3406750"/>
                  <a:gd name="connsiteX25" fmla="*/ 1611973 w 4069204"/>
                  <a:gd name="connsiteY25" fmla="*/ 547680 h 3406750"/>
                  <a:gd name="connsiteX26" fmla="*/ 1694298 w 4069204"/>
                  <a:gd name="connsiteY26" fmla="*/ 629966 h 3406750"/>
                  <a:gd name="connsiteX27" fmla="*/ 1776575 w 4069204"/>
                  <a:gd name="connsiteY27" fmla="*/ 547680 h 3406750"/>
                  <a:gd name="connsiteX28" fmla="*/ 1776575 w 4069204"/>
                  <a:gd name="connsiteY28" fmla="*/ 167737 h 3406750"/>
                  <a:gd name="connsiteX29" fmla="*/ 2622685 w 4069204"/>
                  <a:gd name="connsiteY29" fmla="*/ 476082 h 3406750"/>
                  <a:gd name="connsiteX30" fmla="*/ 3151085 w 4069204"/>
                  <a:gd name="connsiteY30" fmla="*/ 1205323 h 3406750"/>
                  <a:gd name="connsiteX31" fmla="*/ 3192380 w 4069204"/>
                  <a:gd name="connsiteY31" fmla="*/ 1254269 h 3406750"/>
                  <a:gd name="connsiteX32" fmla="*/ 3256247 w 4069204"/>
                  <a:gd name="connsiteY32" fmla="*/ 1258747 h 3406750"/>
                  <a:gd name="connsiteX33" fmla="*/ 3304008 w 4069204"/>
                  <a:gd name="connsiteY33" fmla="*/ 1216119 h 3406750"/>
                  <a:gd name="connsiteX34" fmla="*/ 3306810 w 4069204"/>
                  <a:gd name="connsiteY34" fmla="*/ 1152164 h 3406750"/>
                  <a:gd name="connsiteX35" fmla="*/ 2685612 w 4069204"/>
                  <a:gd name="connsiteY35" fmla="*/ 317643 h 3406750"/>
                  <a:gd name="connsiteX36" fmla="*/ 1694925 w 4069204"/>
                  <a:gd name="connsiteY36" fmla="*/ 0 h 3406750"/>
                  <a:gd name="connsiteX37" fmla="*/ 1693887 w 4069204"/>
                  <a:gd name="connsiteY37" fmla="*/ 0 h 3406750"/>
                  <a:gd name="connsiteX38" fmla="*/ 495598 w 4069204"/>
                  <a:gd name="connsiteY38" fmla="*/ 502182 h 3406750"/>
                  <a:gd name="connsiteX39" fmla="*/ 0 w 4069204"/>
                  <a:gd name="connsiteY39" fmla="*/ 1703214 h 3406750"/>
                  <a:gd name="connsiteX40" fmla="*/ 495363 w 4069204"/>
                  <a:gd name="connsiteY40" fmla="*/ 2904344 h 3406750"/>
                  <a:gd name="connsiteX41" fmla="*/ 1693554 w 4069204"/>
                  <a:gd name="connsiteY41" fmla="*/ 3406751 h 3406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4069204" h="3406750">
                    <a:moveTo>
                      <a:pt x="1693593" y="3406555"/>
                    </a:moveTo>
                    <a:lnTo>
                      <a:pt x="1695200" y="3406555"/>
                    </a:lnTo>
                    <a:cubicBezTo>
                      <a:pt x="2056048" y="3405409"/>
                      <a:pt x="2407335" y="3289989"/>
                      <a:pt x="2698525" y="3076861"/>
                    </a:cubicBezTo>
                    <a:cubicBezTo>
                      <a:pt x="2989765" y="2863695"/>
                      <a:pt x="3205988" y="2563814"/>
                      <a:pt x="3316205" y="2220150"/>
                    </a:cubicBezTo>
                    <a:lnTo>
                      <a:pt x="3986888" y="2220150"/>
                    </a:lnTo>
                    <a:cubicBezTo>
                      <a:pt x="4032357" y="2220150"/>
                      <a:pt x="4069204" y="2183333"/>
                      <a:pt x="4069204" y="2137874"/>
                    </a:cubicBezTo>
                    <a:cubicBezTo>
                      <a:pt x="4069204" y="2092405"/>
                      <a:pt x="4032357" y="2055588"/>
                      <a:pt x="3986888" y="2055588"/>
                    </a:cubicBezTo>
                    <a:lnTo>
                      <a:pt x="2816914" y="2055588"/>
                    </a:lnTo>
                    <a:cubicBezTo>
                      <a:pt x="2771445" y="2055588"/>
                      <a:pt x="2734637" y="2092405"/>
                      <a:pt x="2734637" y="2137874"/>
                    </a:cubicBezTo>
                    <a:cubicBezTo>
                      <a:pt x="2734637" y="2183333"/>
                      <a:pt x="2771445" y="2220150"/>
                      <a:pt x="2816914" y="2220150"/>
                    </a:cubicBezTo>
                    <a:lnTo>
                      <a:pt x="3143276" y="2220150"/>
                    </a:lnTo>
                    <a:cubicBezTo>
                      <a:pt x="3040671" y="2505375"/>
                      <a:pt x="2856328" y="2754016"/>
                      <a:pt x="2613270" y="2935146"/>
                    </a:cubicBezTo>
                    <a:cubicBezTo>
                      <a:pt x="2370213" y="3116236"/>
                      <a:pt x="2079208" y="3221751"/>
                      <a:pt x="1776575" y="3238554"/>
                    </a:cubicBezTo>
                    <a:lnTo>
                      <a:pt x="1776575" y="2858758"/>
                    </a:lnTo>
                    <a:cubicBezTo>
                      <a:pt x="1776575" y="2813328"/>
                      <a:pt x="1739718" y="2776481"/>
                      <a:pt x="1694298" y="2776481"/>
                    </a:cubicBezTo>
                    <a:cubicBezTo>
                      <a:pt x="1648830" y="2776481"/>
                      <a:pt x="1611973" y="2813328"/>
                      <a:pt x="1611973" y="2858758"/>
                    </a:cubicBezTo>
                    <a:lnTo>
                      <a:pt x="1611973" y="3239700"/>
                    </a:lnTo>
                    <a:cubicBezTo>
                      <a:pt x="1233059" y="3218920"/>
                      <a:pt x="875120" y="3059060"/>
                      <a:pt x="606786" y="2790716"/>
                    </a:cubicBezTo>
                    <a:cubicBezTo>
                      <a:pt x="338432" y="2522363"/>
                      <a:pt x="178543" y="2164463"/>
                      <a:pt x="157763" y="1785529"/>
                    </a:cubicBezTo>
                    <a:lnTo>
                      <a:pt x="538745" y="1785529"/>
                    </a:lnTo>
                    <a:cubicBezTo>
                      <a:pt x="584213" y="1785529"/>
                      <a:pt x="621031" y="1748712"/>
                      <a:pt x="621031" y="1703253"/>
                    </a:cubicBezTo>
                    <a:cubicBezTo>
                      <a:pt x="621031" y="1657784"/>
                      <a:pt x="584213" y="1620967"/>
                      <a:pt x="538745" y="1620967"/>
                    </a:cubicBezTo>
                    <a:lnTo>
                      <a:pt x="157763" y="1620967"/>
                    </a:lnTo>
                    <a:cubicBezTo>
                      <a:pt x="178543" y="1242013"/>
                      <a:pt x="338432" y="884075"/>
                      <a:pt x="606786" y="615682"/>
                    </a:cubicBezTo>
                    <a:cubicBezTo>
                      <a:pt x="875140" y="347328"/>
                      <a:pt x="1233078" y="187439"/>
                      <a:pt x="1611973" y="166698"/>
                    </a:cubicBezTo>
                    <a:lnTo>
                      <a:pt x="1611973" y="547680"/>
                    </a:lnTo>
                    <a:cubicBezTo>
                      <a:pt x="1611973" y="593109"/>
                      <a:pt x="1648830" y="629966"/>
                      <a:pt x="1694298" y="629966"/>
                    </a:cubicBezTo>
                    <a:cubicBezTo>
                      <a:pt x="1739718" y="629966"/>
                      <a:pt x="1776575" y="593109"/>
                      <a:pt x="1776575" y="547680"/>
                    </a:cubicBezTo>
                    <a:lnTo>
                      <a:pt x="1776575" y="167737"/>
                    </a:lnTo>
                    <a:cubicBezTo>
                      <a:pt x="2083039" y="183814"/>
                      <a:pt x="2377718" y="291200"/>
                      <a:pt x="2622685" y="476082"/>
                    </a:cubicBezTo>
                    <a:cubicBezTo>
                      <a:pt x="2867614" y="661003"/>
                      <a:pt x="3051653" y="914965"/>
                      <a:pt x="3151085" y="1205323"/>
                    </a:cubicBezTo>
                    <a:cubicBezTo>
                      <a:pt x="3157668" y="1226524"/>
                      <a:pt x="3172589" y="1244208"/>
                      <a:pt x="3192380" y="1254269"/>
                    </a:cubicBezTo>
                    <a:cubicBezTo>
                      <a:pt x="3212199" y="1264341"/>
                      <a:pt x="3235242" y="1265948"/>
                      <a:pt x="3256247" y="1258747"/>
                    </a:cubicBezTo>
                    <a:cubicBezTo>
                      <a:pt x="3277301" y="1251595"/>
                      <a:pt x="3294525" y="1236213"/>
                      <a:pt x="3304008" y="1216119"/>
                    </a:cubicBezTo>
                    <a:cubicBezTo>
                      <a:pt x="3313541" y="1196065"/>
                      <a:pt x="3314540" y="1172983"/>
                      <a:pt x="3306810" y="1152164"/>
                    </a:cubicBezTo>
                    <a:cubicBezTo>
                      <a:pt x="3191811" y="816004"/>
                      <a:pt x="2974628" y="524225"/>
                      <a:pt x="2685612" y="317643"/>
                    </a:cubicBezTo>
                    <a:cubicBezTo>
                      <a:pt x="2396597" y="111060"/>
                      <a:pt x="2050219" y="0"/>
                      <a:pt x="1694925" y="0"/>
                    </a:cubicBezTo>
                    <a:lnTo>
                      <a:pt x="1693887" y="0"/>
                    </a:lnTo>
                    <a:cubicBezTo>
                      <a:pt x="1243796" y="2528"/>
                      <a:pt x="812986" y="183089"/>
                      <a:pt x="495598" y="502182"/>
                    </a:cubicBezTo>
                    <a:cubicBezTo>
                      <a:pt x="178220" y="821314"/>
                      <a:pt x="39" y="1253113"/>
                      <a:pt x="0" y="1703214"/>
                    </a:cubicBezTo>
                    <a:cubicBezTo>
                      <a:pt x="-39" y="2153304"/>
                      <a:pt x="178034" y="2585114"/>
                      <a:pt x="495363" y="2904344"/>
                    </a:cubicBezTo>
                    <a:cubicBezTo>
                      <a:pt x="812702" y="3223515"/>
                      <a:pt x="1243424" y="3404154"/>
                      <a:pt x="1693554" y="3406751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0" name="Freeform: Shape 1219">
                <a:extLst>
                  <a:ext uri="{FF2B5EF4-FFF2-40B4-BE49-F238E27FC236}">
                    <a16:creationId xmlns:a16="http://schemas.microsoft.com/office/drawing/2014/main" id="{2A6D0A1C-D7F8-6995-59AF-870CD06489E0}"/>
                  </a:ext>
                </a:extLst>
              </p:cNvPr>
              <p:cNvSpPr/>
              <p:nvPr/>
            </p:nvSpPr>
            <p:spPr>
              <a:xfrm>
                <a:off x="-5942735" y="3955335"/>
                <a:ext cx="1450818" cy="947335"/>
              </a:xfrm>
              <a:custGeom>
                <a:avLst/>
                <a:gdLst>
                  <a:gd name="connsiteX0" fmla="*/ 1312055 w 1450818"/>
                  <a:gd name="connsiteY0" fmla="*/ 342893 h 947335"/>
                  <a:gd name="connsiteX1" fmla="*/ 865864 w 1450818"/>
                  <a:gd name="connsiteY1" fmla="*/ 751081 h 947335"/>
                  <a:gd name="connsiteX2" fmla="*/ 140611 w 1450818"/>
                  <a:gd name="connsiteY2" fmla="*/ 24221 h 947335"/>
                  <a:gd name="connsiteX3" fmla="*/ 24192 w 1450818"/>
                  <a:gd name="connsiteY3" fmla="*/ 24025 h 947335"/>
                  <a:gd name="connsiteX4" fmla="*/ 23996 w 1450818"/>
                  <a:gd name="connsiteY4" fmla="*/ 140406 h 947335"/>
                  <a:gd name="connsiteX5" fmla="*/ 804632 w 1450818"/>
                  <a:gd name="connsiteY5" fmla="*/ 923148 h 947335"/>
                  <a:gd name="connsiteX6" fmla="*/ 918445 w 1450818"/>
                  <a:gd name="connsiteY6" fmla="*/ 925754 h 947335"/>
                  <a:gd name="connsiteX7" fmla="*/ 1423195 w 1450818"/>
                  <a:gd name="connsiteY7" fmla="*/ 464407 h 947335"/>
                  <a:gd name="connsiteX8" fmla="*/ 1423234 w 1450818"/>
                  <a:gd name="connsiteY8" fmla="*/ 464368 h 947335"/>
                  <a:gd name="connsiteX9" fmla="*/ 1450715 w 1450818"/>
                  <a:gd name="connsiteY9" fmla="*/ 407152 h 947335"/>
                  <a:gd name="connsiteX10" fmla="*/ 1429249 w 1450818"/>
                  <a:gd name="connsiteY10" fmla="*/ 347380 h 947335"/>
                  <a:gd name="connsiteX11" fmla="*/ 1371652 w 1450818"/>
                  <a:gd name="connsiteY11" fmla="*/ 320663 h 947335"/>
                  <a:gd name="connsiteX12" fmla="*/ 1312173 w 1450818"/>
                  <a:gd name="connsiteY12" fmla="*/ 342903 h 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50818" h="947335">
                    <a:moveTo>
                      <a:pt x="1312055" y="342893"/>
                    </a:moveTo>
                    <a:lnTo>
                      <a:pt x="865864" y="751081"/>
                    </a:lnTo>
                    <a:lnTo>
                      <a:pt x="140611" y="24221"/>
                    </a:lnTo>
                    <a:cubicBezTo>
                      <a:pt x="108506" y="-8002"/>
                      <a:pt x="56415" y="-8080"/>
                      <a:pt x="24192" y="24025"/>
                    </a:cubicBezTo>
                    <a:cubicBezTo>
                      <a:pt x="-7992" y="56101"/>
                      <a:pt x="-8070" y="108222"/>
                      <a:pt x="23996" y="140406"/>
                    </a:cubicBezTo>
                    <a:lnTo>
                      <a:pt x="804632" y="923148"/>
                    </a:lnTo>
                    <a:cubicBezTo>
                      <a:pt x="835748" y="954382"/>
                      <a:pt x="885958" y="955488"/>
                      <a:pt x="918445" y="925754"/>
                    </a:cubicBezTo>
                    <a:lnTo>
                      <a:pt x="1423195" y="464407"/>
                    </a:lnTo>
                    <a:lnTo>
                      <a:pt x="1423234" y="464368"/>
                    </a:lnTo>
                    <a:cubicBezTo>
                      <a:pt x="1439654" y="449750"/>
                      <a:pt x="1449568" y="429117"/>
                      <a:pt x="1450715" y="407152"/>
                    </a:cubicBezTo>
                    <a:cubicBezTo>
                      <a:pt x="1451822" y="385148"/>
                      <a:pt x="1444092" y="363643"/>
                      <a:pt x="1429249" y="347380"/>
                    </a:cubicBezTo>
                    <a:cubicBezTo>
                      <a:pt x="1414397" y="331117"/>
                      <a:pt x="1393656" y="321506"/>
                      <a:pt x="1371652" y="320663"/>
                    </a:cubicBezTo>
                    <a:cubicBezTo>
                      <a:pt x="1349647" y="319820"/>
                      <a:pt x="1328211" y="327864"/>
                      <a:pt x="1312173" y="342903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1" name="Freeform: Shape 1220">
                <a:extLst>
                  <a:ext uri="{FF2B5EF4-FFF2-40B4-BE49-F238E27FC236}">
                    <a16:creationId xmlns:a16="http://schemas.microsoft.com/office/drawing/2014/main" id="{D2F308CE-BDDB-AB83-5009-6B472F089072}"/>
                  </a:ext>
                </a:extLst>
              </p:cNvPr>
              <p:cNvSpPr/>
              <p:nvPr/>
            </p:nvSpPr>
            <p:spPr>
              <a:xfrm>
                <a:off x="-3380250" y="3724694"/>
                <a:ext cx="939104" cy="164601"/>
              </a:xfrm>
              <a:custGeom>
                <a:avLst/>
                <a:gdLst>
                  <a:gd name="connsiteX0" fmla="*/ 82276 w 939104"/>
                  <a:gd name="connsiteY0" fmla="*/ 164602 h 164601"/>
                  <a:gd name="connsiteX1" fmla="*/ 856790 w 939104"/>
                  <a:gd name="connsiteY1" fmla="*/ 164602 h 164601"/>
                  <a:gd name="connsiteX2" fmla="*/ 939105 w 939104"/>
                  <a:gd name="connsiteY2" fmla="*/ 82325 h 164601"/>
                  <a:gd name="connsiteX3" fmla="*/ 856790 w 939104"/>
                  <a:gd name="connsiteY3" fmla="*/ 0 h 164601"/>
                  <a:gd name="connsiteX4" fmla="*/ 82276 w 939104"/>
                  <a:gd name="connsiteY4" fmla="*/ 0 h 164601"/>
                  <a:gd name="connsiteX5" fmla="*/ 0 w 939104"/>
                  <a:gd name="connsiteY5" fmla="*/ 82325 h 164601"/>
                  <a:gd name="connsiteX6" fmla="*/ 82276 w 939104"/>
                  <a:gd name="connsiteY6" fmla="*/ 164602 h 16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9104" h="164601">
                    <a:moveTo>
                      <a:pt x="82276" y="164602"/>
                    </a:moveTo>
                    <a:lnTo>
                      <a:pt x="856790" y="164602"/>
                    </a:lnTo>
                    <a:cubicBezTo>
                      <a:pt x="902258" y="164602"/>
                      <a:pt x="939105" y="127745"/>
                      <a:pt x="939105" y="82325"/>
                    </a:cubicBezTo>
                    <a:cubicBezTo>
                      <a:pt x="939105" y="36857"/>
                      <a:pt x="902258" y="0"/>
                      <a:pt x="856790" y="0"/>
                    </a:cubicBezTo>
                    <a:lnTo>
                      <a:pt x="82276" y="0"/>
                    </a:lnTo>
                    <a:cubicBezTo>
                      <a:pt x="36847" y="0"/>
                      <a:pt x="0" y="36857"/>
                      <a:pt x="0" y="82325"/>
                    </a:cubicBezTo>
                    <a:cubicBezTo>
                      <a:pt x="0" y="127745"/>
                      <a:pt x="36847" y="164602"/>
                      <a:pt x="82276" y="164602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2" name="Freeform: Shape 1221">
                <a:extLst>
                  <a:ext uri="{FF2B5EF4-FFF2-40B4-BE49-F238E27FC236}">
                    <a16:creationId xmlns:a16="http://schemas.microsoft.com/office/drawing/2014/main" id="{D0AD3165-9CE6-FC7E-4DEC-89657BAE8867}"/>
                  </a:ext>
                </a:extLst>
              </p:cNvPr>
              <p:cNvSpPr/>
              <p:nvPr/>
            </p:nvSpPr>
            <p:spPr>
              <a:xfrm>
                <a:off x="-2300703" y="4346714"/>
                <a:ext cx="345604" cy="164601"/>
              </a:xfrm>
              <a:custGeom>
                <a:avLst/>
                <a:gdLst>
                  <a:gd name="connsiteX0" fmla="*/ 82277 w 345604"/>
                  <a:gd name="connsiteY0" fmla="*/ 164602 h 164601"/>
                  <a:gd name="connsiteX1" fmla="*/ 263328 w 345604"/>
                  <a:gd name="connsiteY1" fmla="*/ 164602 h 164601"/>
                  <a:gd name="connsiteX2" fmla="*/ 345604 w 345604"/>
                  <a:gd name="connsiteY2" fmla="*/ 82325 h 164601"/>
                  <a:gd name="connsiteX3" fmla="*/ 263328 w 345604"/>
                  <a:gd name="connsiteY3" fmla="*/ 0 h 164601"/>
                  <a:gd name="connsiteX4" fmla="*/ 82277 w 345604"/>
                  <a:gd name="connsiteY4" fmla="*/ 0 h 164601"/>
                  <a:gd name="connsiteX5" fmla="*/ 0 w 345604"/>
                  <a:gd name="connsiteY5" fmla="*/ 82325 h 164601"/>
                  <a:gd name="connsiteX6" fmla="*/ 82277 w 345604"/>
                  <a:gd name="connsiteY6" fmla="*/ 164602 h 16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5604" h="164601">
                    <a:moveTo>
                      <a:pt x="82277" y="164602"/>
                    </a:moveTo>
                    <a:lnTo>
                      <a:pt x="263328" y="164602"/>
                    </a:lnTo>
                    <a:cubicBezTo>
                      <a:pt x="308796" y="164602"/>
                      <a:pt x="345604" y="127745"/>
                      <a:pt x="345604" y="82325"/>
                    </a:cubicBezTo>
                    <a:cubicBezTo>
                      <a:pt x="345604" y="36857"/>
                      <a:pt x="308796" y="0"/>
                      <a:pt x="263328" y="0"/>
                    </a:cubicBezTo>
                    <a:lnTo>
                      <a:pt x="82277" y="0"/>
                    </a:lnTo>
                    <a:cubicBezTo>
                      <a:pt x="36808" y="0"/>
                      <a:pt x="0" y="36857"/>
                      <a:pt x="0" y="82325"/>
                    </a:cubicBezTo>
                    <a:cubicBezTo>
                      <a:pt x="0" y="127745"/>
                      <a:pt x="36808" y="164602"/>
                      <a:pt x="82277" y="164602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3" name="Freeform: Shape 1222">
                <a:extLst>
                  <a:ext uri="{FF2B5EF4-FFF2-40B4-BE49-F238E27FC236}">
                    <a16:creationId xmlns:a16="http://schemas.microsoft.com/office/drawing/2014/main" id="{BC8E14E6-A356-1C07-ED7C-03A1DE657B67}"/>
                  </a:ext>
                </a:extLst>
              </p:cNvPr>
              <p:cNvSpPr/>
              <p:nvPr/>
            </p:nvSpPr>
            <p:spPr>
              <a:xfrm>
                <a:off x="-2910614" y="4346704"/>
                <a:ext cx="469498" cy="164591"/>
              </a:xfrm>
              <a:custGeom>
                <a:avLst/>
                <a:gdLst>
                  <a:gd name="connsiteX0" fmla="*/ 469498 w 469498"/>
                  <a:gd name="connsiteY0" fmla="*/ 82316 h 164591"/>
                  <a:gd name="connsiteX1" fmla="*/ 387183 w 469498"/>
                  <a:gd name="connsiteY1" fmla="*/ 0 h 164591"/>
                  <a:gd name="connsiteX2" fmla="*/ 82325 w 469498"/>
                  <a:gd name="connsiteY2" fmla="*/ 0 h 164591"/>
                  <a:gd name="connsiteX3" fmla="*/ 0 w 469498"/>
                  <a:gd name="connsiteY3" fmla="*/ 82316 h 164591"/>
                  <a:gd name="connsiteX4" fmla="*/ 82325 w 469498"/>
                  <a:gd name="connsiteY4" fmla="*/ 164592 h 164591"/>
                  <a:gd name="connsiteX5" fmla="*/ 387183 w 469498"/>
                  <a:gd name="connsiteY5" fmla="*/ 164592 h 164591"/>
                  <a:gd name="connsiteX6" fmla="*/ 469498 w 469498"/>
                  <a:gd name="connsiteY6" fmla="*/ 82316 h 16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9498" h="164591">
                    <a:moveTo>
                      <a:pt x="469498" y="82316"/>
                    </a:moveTo>
                    <a:cubicBezTo>
                      <a:pt x="469498" y="36847"/>
                      <a:pt x="432642" y="0"/>
                      <a:pt x="387183" y="0"/>
                    </a:cubicBezTo>
                    <a:lnTo>
                      <a:pt x="82325" y="0"/>
                    </a:lnTo>
                    <a:cubicBezTo>
                      <a:pt x="36857" y="0"/>
                      <a:pt x="0" y="36847"/>
                      <a:pt x="0" y="82316"/>
                    </a:cubicBezTo>
                    <a:cubicBezTo>
                      <a:pt x="0" y="127745"/>
                      <a:pt x="36857" y="164592"/>
                      <a:pt x="82325" y="164592"/>
                    </a:cubicBezTo>
                    <a:lnTo>
                      <a:pt x="387183" y="164592"/>
                    </a:lnTo>
                    <a:cubicBezTo>
                      <a:pt x="432642" y="164592"/>
                      <a:pt x="469498" y="127745"/>
                      <a:pt x="469498" y="82316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4" name="Freeform: Shape 1223">
                <a:extLst>
                  <a:ext uri="{FF2B5EF4-FFF2-40B4-BE49-F238E27FC236}">
                    <a16:creationId xmlns:a16="http://schemas.microsoft.com/office/drawing/2014/main" id="{0A88B3B7-FCA7-BFA8-ADC7-B3819AB8C511}"/>
                  </a:ext>
                </a:extLst>
              </p:cNvPr>
              <p:cNvSpPr/>
              <p:nvPr/>
            </p:nvSpPr>
            <p:spPr>
              <a:xfrm>
                <a:off x="-3973507" y="4346704"/>
                <a:ext cx="914396" cy="525489"/>
              </a:xfrm>
              <a:custGeom>
                <a:avLst/>
                <a:gdLst>
                  <a:gd name="connsiteX0" fmla="*/ 914387 w 914396"/>
                  <a:gd name="connsiteY0" fmla="*/ 82316 h 525489"/>
                  <a:gd name="connsiteX1" fmla="*/ 832072 w 914396"/>
                  <a:gd name="connsiteY1" fmla="*/ 0 h 525489"/>
                  <a:gd name="connsiteX2" fmla="*/ 82326 w 914396"/>
                  <a:gd name="connsiteY2" fmla="*/ 0 h 525489"/>
                  <a:gd name="connsiteX3" fmla="*/ 0 w 914396"/>
                  <a:gd name="connsiteY3" fmla="*/ 82316 h 525489"/>
                  <a:gd name="connsiteX4" fmla="*/ 82326 w 914396"/>
                  <a:gd name="connsiteY4" fmla="*/ 164592 h 525489"/>
                  <a:gd name="connsiteX5" fmla="*/ 422972 w 914396"/>
                  <a:gd name="connsiteY5" fmla="*/ 164592 h 525489"/>
                  <a:gd name="connsiteX6" fmla="*/ 432573 w 914396"/>
                  <a:gd name="connsiteY6" fmla="*/ 327430 h 525489"/>
                  <a:gd name="connsiteX7" fmla="*/ 428635 w 914396"/>
                  <a:gd name="connsiteY7" fmla="*/ 437726 h 525489"/>
                  <a:gd name="connsiteX8" fmla="*/ 448690 w 914396"/>
                  <a:gd name="connsiteY8" fmla="*/ 497470 h 525489"/>
                  <a:gd name="connsiteX9" fmla="*/ 505131 w 914396"/>
                  <a:gd name="connsiteY9" fmla="*/ 525489 h 525489"/>
                  <a:gd name="connsiteX10" fmla="*/ 510608 w 914396"/>
                  <a:gd name="connsiteY10" fmla="*/ 525489 h 525489"/>
                  <a:gd name="connsiteX11" fmla="*/ 510647 w 914396"/>
                  <a:gd name="connsiteY11" fmla="*/ 525489 h 525489"/>
                  <a:gd name="connsiteX12" fmla="*/ 592620 w 914396"/>
                  <a:gd name="connsiteY12" fmla="*/ 448680 h 525489"/>
                  <a:gd name="connsiteX13" fmla="*/ 596950 w 914396"/>
                  <a:gd name="connsiteY13" fmla="*/ 327244 h 525489"/>
                  <a:gd name="connsiteX14" fmla="*/ 588338 w 914396"/>
                  <a:gd name="connsiteY14" fmla="*/ 164406 h 525489"/>
                  <a:gd name="connsiteX15" fmla="*/ 831885 w 914396"/>
                  <a:gd name="connsiteY15" fmla="*/ 164406 h 525489"/>
                  <a:gd name="connsiteX16" fmla="*/ 831846 w 914396"/>
                  <a:gd name="connsiteY16" fmla="*/ 164445 h 525489"/>
                  <a:gd name="connsiteX17" fmla="*/ 890129 w 914396"/>
                  <a:gd name="connsiteY17" fmla="*/ 140442 h 525489"/>
                  <a:gd name="connsiteX18" fmla="*/ 914397 w 914396"/>
                  <a:gd name="connsiteY18" fmla="*/ 82316 h 525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914396" h="525489">
                    <a:moveTo>
                      <a:pt x="914387" y="82316"/>
                    </a:moveTo>
                    <a:cubicBezTo>
                      <a:pt x="914387" y="36847"/>
                      <a:pt x="877530" y="0"/>
                      <a:pt x="832072" y="0"/>
                    </a:cubicBezTo>
                    <a:lnTo>
                      <a:pt x="82326" y="0"/>
                    </a:lnTo>
                    <a:cubicBezTo>
                      <a:pt x="36857" y="0"/>
                      <a:pt x="0" y="36847"/>
                      <a:pt x="0" y="82316"/>
                    </a:cubicBezTo>
                    <a:cubicBezTo>
                      <a:pt x="0" y="127745"/>
                      <a:pt x="36857" y="164592"/>
                      <a:pt x="82326" y="164592"/>
                    </a:cubicBezTo>
                    <a:lnTo>
                      <a:pt x="422972" y="164592"/>
                    </a:lnTo>
                    <a:cubicBezTo>
                      <a:pt x="429056" y="218672"/>
                      <a:pt x="432230" y="273007"/>
                      <a:pt x="432573" y="327430"/>
                    </a:cubicBezTo>
                    <a:cubicBezTo>
                      <a:pt x="432573" y="362112"/>
                      <a:pt x="431202" y="399194"/>
                      <a:pt x="428635" y="437726"/>
                    </a:cubicBezTo>
                    <a:cubicBezTo>
                      <a:pt x="427106" y="459506"/>
                      <a:pt x="434337" y="481010"/>
                      <a:pt x="448690" y="497470"/>
                    </a:cubicBezTo>
                    <a:cubicBezTo>
                      <a:pt x="463042" y="513929"/>
                      <a:pt x="483362" y="524030"/>
                      <a:pt x="505131" y="525489"/>
                    </a:cubicBezTo>
                    <a:lnTo>
                      <a:pt x="510608" y="525489"/>
                    </a:lnTo>
                    <a:lnTo>
                      <a:pt x="510647" y="525489"/>
                    </a:lnTo>
                    <a:cubicBezTo>
                      <a:pt x="553891" y="525411"/>
                      <a:pt x="589710" y="491846"/>
                      <a:pt x="592620" y="448680"/>
                    </a:cubicBezTo>
                    <a:cubicBezTo>
                      <a:pt x="595490" y="406503"/>
                      <a:pt x="596950" y="365629"/>
                      <a:pt x="596950" y="327244"/>
                    </a:cubicBezTo>
                    <a:cubicBezTo>
                      <a:pt x="596950" y="272360"/>
                      <a:pt x="593423" y="218172"/>
                      <a:pt x="588338" y="164406"/>
                    </a:cubicBezTo>
                    <a:lnTo>
                      <a:pt x="831885" y="164406"/>
                    </a:lnTo>
                    <a:lnTo>
                      <a:pt x="831846" y="164445"/>
                    </a:lnTo>
                    <a:cubicBezTo>
                      <a:pt x="853694" y="164484"/>
                      <a:pt x="874669" y="155873"/>
                      <a:pt x="890129" y="140442"/>
                    </a:cubicBezTo>
                    <a:cubicBezTo>
                      <a:pt x="905629" y="125060"/>
                      <a:pt x="914319" y="104124"/>
                      <a:pt x="914397" y="82316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5" name="Freeform: Shape 1224">
                <a:extLst>
                  <a:ext uri="{FF2B5EF4-FFF2-40B4-BE49-F238E27FC236}">
                    <a16:creationId xmlns:a16="http://schemas.microsoft.com/office/drawing/2014/main" id="{D801E390-0077-8DEA-488E-6648BB7F3A4E}"/>
                  </a:ext>
                </a:extLst>
              </p:cNvPr>
              <p:cNvSpPr/>
              <p:nvPr/>
            </p:nvSpPr>
            <p:spPr>
              <a:xfrm>
                <a:off x="-2712889" y="5463128"/>
                <a:ext cx="469381" cy="164552"/>
              </a:xfrm>
              <a:custGeom>
                <a:avLst/>
                <a:gdLst>
                  <a:gd name="connsiteX0" fmla="*/ 0 w 469381"/>
                  <a:gd name="connsiteY0" fmla="*/ 82276 h 164552"/>
                  <a:gd name="connsiteX1" fmla="*/ 82277 w 469381"/>
                  <a:gd name="connsiteY1" fmla="*/ 164553 h 164552"/>
                  <a:gd name="connsiteX2" fmla="*/ 387095 w 469381"/>
                  <a:gd name="connsiteY2" fmla="*/ 164553 h 164552"/>
                  <a:gd name="connsiteX3" fmla="*/ 469381 w 469381"/>
                  <a:gd name="connsiteY3" fmla="*/ 82276 h 164552"/>
                  <a:gd name="connsiteX4" fmla="*/ 387095 w 469381"/>
                  <a:gd name="connsiteY4" fmla="*/ 0 h 164552"/>
                  <a:gd name="connsiteX5" fmla="*/ 82277 w 469381"/>
                  <a:gd name="connsiteY5" fmla="*/ 0 h 164552"/>
                  <a:gd name="connsiteX6" fmla="*/ 0 w 469381"/>
                  <a:gd name="connsiteY6" fmla="*/ 82276 h 16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9381" h="164552">
                    <a:moveTo>
                      <a:pt x="0" y="82276"/>
                    </a:moveTo>
                    <a:cubicBezTo>
                      <a:pt x="0" y="127745"/>
                      <a:pt x="36818" y="164553"/>
                      <a:pt x="82277" y="164553"/>
                    </a:cubicBezTo>
                    <a:lnTo>
                      <a:pt x="387095" y="164553"/>
                    </a:lnTo>
                    <a:cubicBezTo>
                      <a:pt x="432564" y="164553"/>
                      <a:pt x="469381" y="127745"/>
                      <a:pt x="469381" y="82276"/>
                    </a:cubicBezTo>
                    <a:cubicBezTo>
                      <a:pt x="469381" y="36808"/>
                      <a:pt x="432564" y="0"/>
                      <a:pt x="387095" y="0"/>
                    </a:cubicBezTo>
                    <a:lnTo>
                      <a:pt x="82277" y="0"/>
                    </a:lnTo>
                    <a:cubicBezTo>
                      <a:pt x="36818" y="0"/>
                      <a:pt x="0" y="36808"/>
                      <a:pt x="0" y="82276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6" name="Freeform: Shape 1225">
                <a:extLst>
                  <a:ext uri="{FF2B5EF4-FFF2-40B4-BE49-F238E27FC236}">
                    <a16:creationId xmlns:a16="http://schemas.microsoft.com/office/drawing/2014/main" id="{BB8644C6-A465-32E3-E307-20E89564D561}"/>
                  </a:ext>
                </a:extLst>
              </p:cNvPr>
              <p:cNvSpPr/>
              <p:nvPr/>
            </p:nvSpPr>
            <p:spPr>
              <a:xfrm>
                <a:off x="-3454395" y="5463138"/>
                <a:ext cx="625978" cy="164562"/>
              </a:xfrm>
              <a:custGeom>
                <a:avLst/>
                <a:gdLst>
                  <a:gd name="connsiteX0" fmla="*/ 543702 w 625978"/>
                  <a:gd name="connsiteY0" fmla="*/ 164563 h 164562"/>
                  <a:gd name="connsiteX1" fmla="*/ 625978 w 625978"/>
                  <a:gd name="connsiteY1" fmla="*/ 82286 h 164562"/>
                  <a:gd name="connsiteX2" fmla="*/ 543702 w 625978"/>
                  <a:gd name="connsiteY2" fmla="*/ 0 h 164562"/>
                  <a:gd name="connsiteX3" fmla="*/ 82276 w 625978"/>
                  <a:gd name="connsiteY3" fmla="*/ 0 h 164562"/>
                  <a:gd name="connsiteX4" fmla="*/ 0 w 625978"/>
                  <a:gd name="connsiteY4" fmla="*/ 82286 h 164562"/>
                  <a:gd name="connsiteX5" fmla="*/ 82276 w 625978"/>
                  <a:gd name="connsiteY5" fmla="*/ 164563 h 164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25978" h="164562">
                    <a:moveTo>
                      <a:pt x="543702" y="164563"/>
                    </a:moveTo>
                    <a:cubicBezTo>
                      <a:pt x="589132" y="164563"/>
                      <a:pt x="625978" y="127745"/>
                      <a:pt x="625978" y="82286"/>
                    </a:cubicBezTo>
                    <a:cubicBezTo>
                      <a:pt x="625978" y="36818"/>
                      <a:pt x="589132" y="0"/>
                      <a:pt x="543702" y="0"/>
                    </a:cubicBezTo>
                    <a:lnTo>
                      <a:pt x="82276" y="0"/>
                    </a:lnTo>
                    <a:cubicBezTo>
                      <a:pt x="36808" y="0"/>
                      <a:pt x="0" y="36818"/>
                      <a:pt x="0" y="82286"/>
                    </a:cubicBezTo>
                    <a:cubicBezTo>
                      <a:pt x="0" y="127745"/>
                      <a:pt x="36808" y="164563"/>
                      <a:pt x="82276" y="164563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302" name="Group 1301">
              <a:extLst>
                <a:ext uri="{FF2B5EF4-FFF2-40B4-BE49-F238E27FC236}">
                  <a16:creationId xmlns:a16="http://schemas.microsoft.com/office/drawing/2014/main" id="{CF788E81-A88B-5E20-0FFF-68682D627CE1}"/>
                </a:ext>
              </a:extLst>
            </p:cNvPr>
            <p:cNvGrpSpPr/>
            <p:nvPr/>
          </p:nvGrpSpPr>
          <p:grpSpPr>
            <a:xfrm>
              <a:off x="4246445" y="7296651"/>
              <a:ext cx="318644" cy="230742"/>
              <a:chOff x="-6116337" y="2303497"/>
              <a:chExt cx="4972050" cy="3600450"/>
            </a:xfrm>
            <a:solidFill>
              <a:srgbClr val="1F4CB9"/>
            </a:solidFill>
          </p:grpSpPr>
          <p:sp>
            <p:nvSpPr>
              <p:cNvPr id="1275" name="Freeform: Shape 1274">
                <a:extLst>
                  <a:ext uri="{FF2B5EF4-FFF2-40B4-BE49-F238E27FC236}">
                    <a16:creationId xmlns:a16="http://schemas.microsoft.com/office/drawing/2014/main" id="{FA45ACFE-34E2-45C1-553F-DEA949E6F3CB}"/>
                  </a:ext>
                </a:extLst>
              </p:cNvPr>
              <p:cNvSpPr/>
              <p:nvPr/>
            </p:nvSpPr>
            <p:spPr>
              <a:xfrm>
                <a:off x="-3201687" y="3332197"/>
                <a:ext cx="2057400" cy="1200150"/>
              </a:xfrm>
              <a:custGeom>
                <a:avLst/>
                <a:gdLst>
                  <a:gd name="connsiteX0" fmla="*/ 1971675 w 2057400"/>
                  <a:gd name="connsiteY0" fmla="*/ 1200150 h 1200150"/>
                  <a:gd name="connsiteX1" fmla="*/ 1011555 w 2057400"/>
                  <a:gd name="connsiteY1" fmla="*/ 1105853 h 1200150"/>
                  <a:gd name="connsiteX2" fmla="*/ 85725 w 2057400"/>
                  <a:gd name="connsiteY2" fmla="*/ 1011555 h 1200150"/>
                  <a:gd name="connsiteX3" fmla="*/ 0 w 2057400"/>
                  <a:gd name="connsiteY3" fmla="*/ 925830 h 1200150"/>
                  <a:gd name="connsiteX4" fmla="*/ 0 w 2057400"/>
                  <a:gd name="connsiteY4" fmla="*/ 85725 h 1200150"/>
                  <a:gd name="connsiteX5" fmla="*/ 85725 w 2057400"/>
                  <a:gd name="connsiteY5" fmla="*/ 0 h 1200150"/>
                  <a:gd name="connsiteX6" fmla="*/ 1045845 w 2057400"/>
                  <a:gd name="connsiteY6" fmla="*/ 94298 h 1200150"/>
                  <a:gd name="connsiteX7" fmla="*/ 1971675 w 2057400"/>
                  <a:gd name="connsiteY7" fmla="*/ 188595 h 1200150"/>
                  <a:gd name="connsiteX8" fmla="*/ 2057400 w 2057400"/>
                  <a:gd name="connsiteY8" fmla="*/ 274320 h 1200150"/>
                  <a:gd name="connsiteX9" fmla="*/ 2057400 w 2057400"/>
                  <a:gd name="connsiteY9" fmla="*/ 1114425 h 1200150"/>
                  <a:gd name="connsiteX10" fmla="*/ 1971675 w 2057400"/>
                  <a:gd name="connsiteY10" fmla="*/ 1200150 h 1200150"/>
                  <a:gd name="connsiteX11" fmla="*/ 171450 w 2057400"/>
                  <a:gd name="connsiteY11" fmla="*/ 840105 h 1200150"/>
                  <a:gd name="connsiteX12" fmla="*/ 1045845 w 2057400"/>
                  <a:gd name="connsiteY12" fmla="*/ 934403 h 1200150"/>
                  <a:gd name="connsiteX13" fmla="*/ 1885950 w 2057400"/>
                  <a:gd name="connsiteY13" fmla="*/ 1028700 h 1200150"/>
                  <a:gd name="connsiteX14" fmla="*/ 1885950 w 2057400"/>
                  <a:gd name="connsiteY14" fmla="*/ 360045 h 1200150"/>
                  <a:gd name="connsiteX15" fmla="*/ 1011555 w 2057400"/>
                  <a:gd name="connsiteY15" fmla="*/ 265748 h 1200150"/>
                  <a:gd name="connsiteX16" fmla="*/ 171450 w 2057400"/>
                  <a:gd name="connsiteY16" fmla="*/ 171450 h 120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057400" h="1200150">
                    <a:moveTo>
                      <a:pt x="1971675" y="1200150"/>
                    </a:moveTo>
                    <a:cubicBezTo>
                      <a:pt x="1491615" y="1200150"/>
                      <a:pt x="1251585" y="1148715"/>
                      <a:pt x="1011555" y="1105853"/>
                    </a:cubicBezTo>
                    <a:cubicBezTo>
                      <a:pt x="771525" y="1054418"/>
                      <a:pt x="548640" y="1011555"/>
                      <a:pt x="85725" y="1011555"/>
                    </a:cubicBezTo>
                    <a:cubicBezTo>
                      <a:pt x="34290" y="1011555"/>
                      <a:pt x="0" y="977265"/>
                      <a:pt x="0" y="925830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cubicBezTo>
                      <a:pt x="565785" y="0"/>
                      <a:pt x="805815" y="51435"/>
                      <a:pt x="1045845" y="94298"/>
                    </a:cubicBezTo>
                    <a:cubicBezTo>
                      <a:pt x="1285875" y="145733"/>
                      <a:pt x="1508760" y="188595"/>
                      <a:pt x="1971675" y="188595"/>
                    </a:cubicBezTo>
                    <a:cubicBezTo>
                      <a:pt x="2023110" y="188595"/>
                      <a:pt x="2057400" y="222885"/>
                      <a:pt x="2057400" y="274320"/>
                    </a:cubicBezTo>
                    <a:lnTo>
                      <a:pt x="2057400" y="1114425"/>
                    </a:lnTo>
                    <a:cubicBezTo>
                      <a:pt x="2057400" y="1165860"/>
                      <a:pt x="2023110" y="1200150"/>
                      <a:pt x="1971675" y="1200150"/>
                    </a:cubicBezTo>
                    <a:close/>
                    <a:moveTo>
                      <a:pt x="171450" y="840105"/>
                    </a:moveTo>
                    <a:cubicBezTo>
                      <a:pt x="591503" y="848678"/>
                      <a:pt x="822960" y="891540"/>
                      <a:pt x="1045845" y="934403"/>
                    </a:cubicBezTo>
                    <a:cubicBezTo>
                      <a:pt x="1268730" y="977265"/>
                      <a:pt x="1483043" y="1020128"/>
                      <a:pt x="1885950" y="1028700"/>
                    </a:cubicBezTo>
                    <a:lnTo>
                      <a:pt x="1885950" y="360045"/>
                    </a:lnTo>
                    <a:cubicBezTo>
                      <a:pt x="1465898" y="351473"/>
                      <a:pt x="1234440" y="308610"/>
                      <a:pt x="1011555" y="265748"/>
                    </a:cubicBezTo>
                    <a:cubicBezTo>
                      <a:pt x="788670" y="222885"/>
                      <a:pt x="574358" y="180023"/>
                      <a:pt x="171450" y="17145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6" name="Freeform: Shape 1275">
                <a:extLst>
                  <a:ext uri="{FF2B5EF4-FFF2-40B4-BE49-F238E27FC236}">
                    <a16:creationId xmlns:a16="http://schemas.microsoft.com/office/drawing/2014/main" id="{9D79528F-527F-5AC6-7833-2C157F02427D}"/>
                  </a:ext>
                </a:extLst>
              </p:cNvPr>
              <p:cNvSpPr/>
              <p:nvPr/>
            </p:nvSpPr>
            <p:spPr>
              <a:xfrm>
                <a:off x="-3544587" y="3675097"/>
                <a:ext cx="2057400" cy="1200150"/>
              </a:xfrm>
              <a:custGeom>
                <a:avLst/>
                <a:gdLst>
                  <a:gd name="connsiteX0" fmla="*/ 1971675 w 2057400"/>
                  <a:gd name="connsiteY0" fmla="*/ 1200150 h 1200150"/>
                  <a:gd name="connsiteX1" fmla="*/ 1011555 w 2057400"/>
                  <a:gd name="connsiteY1" fmla="*/ 1105853 h 1200150"/>
                  <a:gd name="connsiteX2" fmla="*/ 85725 w 2057400"/>
                  <a:gd name="connsiteY2" fmla="*/ 1011555 h 1200150"/>
                  <a:gd name="connsiteX3" fmla="*/ 0 w 2057400"/>
                  <a:gd name="connsiteY3" fmla="*/ 925830 h 1200150"/>
                  <a:gd name="connsiteX4" fmla="*/ 0 w 2057400"/>
                  <a:gd name="connsiteY4" fmla="*/ 85725 h 1200150"/>
                  <a:gd name="connsiteX5" fmla="*/ 85725 w 2057400"/>
                  <a:gd name="connsiteY5" fmla="*/ 0 h 1200150"/>
                  <a:gd name="connsiteX6" fmla="*/ 437198 w 2057400"/>
                  <a:gd name="connsiteY6" fmla="*/ 8573 h 1200150"/>
                  <a:gd name="connsiteX7" fmla="*/ 514350 w 2057400"/>
                  <a:gd name="connsiteY7" fmla="*/ 102870 h 1200150"/>
                  <a:gd name="connsiteX8" fmla="*/ 420053 w 2057400"/>
                  <a:gd name="connsiteY8" fmla="*/ 180023 h 1200150"/>
                  <a:gd name="connsiteX9" fmla="*/ 171450 w 2057400"/>
                  <a:gd name="connsiteY9" fmla="*/ 171450 h 1200150"/>
                  <a:gd name="connsiteX10" fmla="*/ 171450 w 2057400"/>
                  <a:gd name="connsiteY10" fmla="*/ 840105 h 1200150"/>
                  <a:gd name="connsiteX11" fmla="*/ 1045845 w 2057400"/>
                  <a:gd name="connsiteY11" fmla="*/ 934403 h 1200150"/>
                  <a:gd name="connsiteX12" fmla="*/ 1885950 w 2057400"/>
                  <a:gd name="connsiteY12" fmla="*/ 1028700 h 1200150"/>
                  <a:gd name="connsiteX13" fmla="*/ 1885950 w 2057400"/>
                  <a:gd name="connsiteY13" fmla="*/ 771525 h 1200150"/>
                  <a:gd name="connsiteX14" fmla="*/ 1971675 w 2057400"/>
                  <a:gd name="connsiteY14" fmla="*/ 685800 h 1200150"/>
                  <a:gd name="connsiteX15" fmla="*/ 2057400 w 2057400"/>
                  <a:gd name="connsiteY15" fmla="*/ 771525 h 1200150"/>
                  <a:gd name="connsiteX16" fmla="*/ 2057400 w 2057400"/>
                  <a:gd name="connsiteY16" fmla="*/ 1114425 h 1200150"/>
                  <a:gd name="connsiteX17" fmla="*/ 1971675 w 2057400"/>
                  <a:gd name="connsiteY17" fmla="*/ 1200150 h 120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057400" h="1200150">
                    <a:moveTo>
                      <a:pt x="1971675" y="1200150"/>
                    </a:moveTo>
                    <a:cubicBezTo>
                      <a:pt x="1491615" y="1200150"/>
                      <a:pt x="1251585" y="1148715"/>
                      <a:pt x="1011555" y="1105853"/>
                    </a:cubicBezTo>
                    <a:cubicBezTo>
                      <a:pt x="771525" y="1054418"/>
                      <a:pt x="548640" y="1011555"/>
                      <a:pt x="85725" y="1011555"/>
                    </a:cubicBezTo>
                    <a:cubicBezTo>
                      <a:pt x="34290" y="1011555"/>
                      <a:pt x="0" y="977265"/>
                      <a:pt x="0" y="925830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cubicBezTo>
                      <a:pt x="214313" y="0"/>
                      <a:pt x="325755" y="0"/>
                      <a:pt x="437198" y="8573"/>
                    </a:cubicBezTo>
                    <a:cubicBezTo>
                      <a:pt x="488633" y="8573"/>
                      <a:pt x="522923" y="51435"/>
                      <a:pt x="514350" y="102870"/>
                    </a:cubicBezTo>
                    <a:cubicBezTo>
                      <a:pt x="514350" y="145733"/>
                      <a:pt x="471488" y="188595"/>
                      <a:pt x="420053" y="180023"/>
                    </a:cubicBezTo>
                    <a:cubicBezTo>
                      <a:pt x="342900" y="171450"/>
                      <a:pt x="265748" y="171450"/>
                      <a:pt x="171450" y="171450"/>
                    </a:cubicBezTo>
                    <a:lnTo>
                      <a:pt x="171450" y="840105"/>
                    </a:lnTo>
                    <a:cubicBezTo>
                      <a:pt x="591503" y="848678"/>
                      <a:pt x="822960" y="891540"/>
                      <a:pt x="1045845" y="934403"/>
                    </a:cubicBezTo>
                    <a:cubicBezTo>
                      <a:pt x="1268730" y="977265"/>
                      <a:pt x="1483043" y="1020128"/>
                      <a:pt x="1885950" y="1028700"/>
                    </a:cubicBezTo>
                    <a:lnTo>
                      <a:pt x="1885950" y="771525"/>
                    </a:lnTo>
                    <a:cubicBezTo>
                      <a:pt x="1885950" y="720090"/>
                      <a:pt x="1920240" y="685800"/>
                      <a:pt x="1971675" y="685800"/>
                    </a:cubicBezTo>
                    <a:cubicBezTo>
                      <a:pt x="2023110" y="685800"/>
                      <a:pt x="2057400" y="720090"/>
                      <a:pt x="2057400" y="771525"/>
                    </a:cubicBezTo>
                    <a:lnTo>
                      <a:pt x="2057400" y="1114425"/>
                    </a:lnTo>
                    <a:cubicBezTo>
                      <a:pt x="2057400" y="1165860"/>
                      <a:pt x="2023110" y="1200150"/>
                      <a:pt x="1971675" y="120015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7" name="Freeform: Shape 1276">
                <a:extLst>
                  <a:ext uri="{FF2B5EF4-FFF2-40B4-BE49-F238E27FC236}">
                    <a16:creationId xmlns:a16="http://schemas.microsoft.com/office/drawing/2014/main" id="{8E58E04A-C79A-15AA-5FBB-A129864E285B}"/>
                  </a:ext>
                </a:extLst>
              </p:cNvPr>
              <p:cNvSpPr/>
              <p:nvPr/>
            </p:nvSpPr>
            <p:spPr>
              <a:xfrm>
                <a:off x="-6116337" y="2817847"/>
                <a:ext cx="4286250" cy="3086100"/>
              </a:xfrm>
              <a:custGeom>
                <a:avLst/>
                <a:gdLst>
                  <a:gd name="connsiteX0" fmla="*/ 4200525 w 4286250"/>
                  <a:gd name="connsiteY0" fmla="*/ 3086100 h 3086100"/>
                  <a:gd name="connsiteX1" fmla="*/ 85725 w 4286250"/>
                  <a:gd name="connsiteY1" fmla="*/ 3086100 h 3086100"/>
                  <a:gd name="connsiteX2" fmla="*/ 0 w 4286250"/>
                  <a:gd name="connsiteY2" fmla="*/ 3000375 h 3086100"/>
                  <a:gd name="connsiteX3" fmla="*/ 0 w 4286250"/>
                  <a:gd name="connsiteY3" fmla="*/ 85725 h 3086100"/>
                  <a:gd name="connsiteX4" fmla="*/ 85725 w 4286250"/>
                  <a:gd name="connsiteY4" fmla="*/ 0 h 3086100"/>
                  <a:gd name="connsiteX5" fmla="*/ 4200525 w 4286250"/>
                  <a:gd name="connsiteY5" fmla="*/ 0 h 3086100"/>
                  <a:gd name="connsiteX6" fmla="*/ 4286250 w 4286250"/>
                  <a:gd name="connsiteY6" fmla="*/ 85725 h 3086100"/>
                  <a:gd name="connsiteX7" fmla="*/ 4286250 w 4286250"/>
                  <a:gd name="connsiteY7" fmla="*/ 514350 h 3086100"/>
                  <a:gd name="connsiteX8" fmla="*/ 4200525 w 4286250"/>
                  <a:gd name="connsiteY8" fmla="*/ 600075 h 3086100"/>
                  <a:gd name="connsiteX9" fmla="*/ 4114800 w 4286250"/>
                  <a:gd name="connsiteY9" fmla="*/ 514350 h 3086100"/>
                  <a:gd name="connsiteX10" fmla="*/ 4114800 w 4286250"/>
                  <a:gd name="connsiteY10" fmla="*/ 171450 h 3086100"/>
                  <a:gd name="connsiteX11" fmla="*/ 171450 w 4286250"/>
                  <a:gd name="connsiteY11" fmla="*/ 171450 h 3086100"/>
                  <a:gd name="connsiteX12" fmla="*/ 171450 w 4286250"/>
                  <a:gd name="connsiteY12" fmla="*/ 2914650 h 3086100"/>
                  <a:gd name="connsiteX13" fmla="*/ 4114800 w 4286250"/>
                  <a:gd name="connsiteY13" fmla="*/ 2914650 h 3086100"/>
                  <a:gd name="connsiteX14" fmla="*/ 4114800 w 4286250"/>
                  <a:gd name="connsiteY14" fmla="*/ 2228850 h 3086100"/>
                  <a:gd name="connsiteX15" fmla="*/ 4200525 w 4286250"/>
                  <a:gd name="connsiteY15" fmla="*/ 2143125 h 3086100"/>
                  <a:gd name="connsiteX16" fmla="*/ 4286250 w 4286250"/>
                  <a:gd name="connsiteY16" fmla="*/ 2228850 h 3086100"/>
                  <a:gd name="connsiteX17" fmla="*/ 4286250 w 4286250"/>
                  <a:gd name="connsiteY17" fmla="*/ 3000375 h 3086100"/>
                  <a:gd name="connsiteX18" fmla="*/ 4200525 w 4286250"/>
                  <a:gd name="connsiteY18" fmla="*/ 3086100 h 3086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286250" h="3086100">
                    <a:moveTo>
                      <a:pt x="4200525" y="3086100"/>
                    </a:moveTo>
                    <a:lnTo>
                      <a:pt x="85725" y="3086100"/>
                    </a:lnTo>
                    <a:cubicBezTo>
                      <a:pt x="34290" y="3086100"/>
                      <a:pt x="0" y="3051810"/>
                      <a:pt x="0" y="3000375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lnTo>
                      <a:pt x="4200525" y="0"/>
                    </a:lnTo>
                    <a:cubicBezTo>
                      <a:pt x="4251960" y="0"/>
                      <a:pt x="4286250" y="34290"/>
                      <a:pt x="4286250" y="85725"/>
                    </a:cubicBezTo>
                    <a:lnTo>
                      <a:pt x="4286250" y="514350"/>
                    </a:lnTo>
                    <a:cubicBezTo>
                      <a:pt x="4286250" y="565785"/>
                      <a:pt x="4251960" y="600075"/>
                      <a:pt x="4200525" y="600075"/>
                    </a:cubicBezTo>
                    <a:cubicBezTo>
                      <a:pt x="4149090" y="600075"/>
                      <a:pt x="4114800" y="565785"/>
                      <a:pt x="4114800" y="514350"/>
                    </a:cubicBezTo>
                    <a:lnTo>
                      <a:pt x="4114800" y="171450"/>
                    </a:lnTo>
                    <a:lnTo>
                      <a:pt x="171450" y="171450"/>
                    </a:lnTo>
                    <a:lnTo>
                      <a:pt x="171450" y="2914650"/>
                    </a:lnTo>
                    <a:lnTo>
                      <a:pt x="4114800" y="2914650"/>
                    </a:lnTo>
                    <a:lnTo>
                      <a:pt x="4114800" y="2228850"/>
                    </a:lnTo>
                    <a:cubicBezTo>
                      <a:pt x="4114800" y="2177415"/>
                      <a:pt x="4149090" y="2143125"/>
                      <a:pt x="4200525" y="2143125"/>
                    </a:cubicBezTo>
                    <a:cubicBezTo>
                      <a:pt x="4251960" y="2143125"/>
                      <a:pt x="4286250" y="2177415"/>
                      <a:pt x="4286250" y="2228850"/>
                    </a:cubicBezTo>
                    <a:lnTo>
                      <a:pt x="4286250" y="3000375"/>
                    </a:lnTo>
                    <a:cubicBezTo>
                      <a:pt x="4286250" y="3051810"/>
                      <a:pt x="4251960" y="3086100"/>
                      <a:pt x="4200525" y="308610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8" name="Freeform: Shape 1277">
                <a:extLst>
                  <a:ext uri="{FF2B5EF4-FFF2-40B4-BE49-F238E27FC236}">
                    <a16:creationId xmlns:a16="http://schemas.microsoft.com/office/drawing/2014/main" id="{1860253F-4D6B-E131-6E28-62C3B7D699A7}"/>
                  </a:ext>
                </a:extLst>
              </p:cNvPr>
              <p:cNvSpPr/>
              <p:nvPr/>
            </p:nvSpPr>
            <p:spPr>
              <a:xfrm>
                <a:off x="-6116337" y="2817847"/>
                <a:ext cx="4286250" cy="1543050"/>
              </a:xfrm>
              <a:custGeom>
                <a:avLst/>
                <a:gdLst>
                  <a:gd name="connsiteX0" fmla="*/ 2400300 w 4286250"/>
                  <a:gd name="connsiteY0" fmla="*/ 1543050 h 1543050"/>
                  <a:gd name="connsiteX1" fmla="*/ 1628775 w 4286250"/>
                  <a:gd name="connsiteY1" fmla="*/ 1543050 h 1543050"/>
                  <a:gd name="connsiteX2" fmla="*/ 1603058 w 4286250"/>
                  <a:gd name="connsiteY2" fmla="*/ 1534478 h 1543050"/>
                  <a:gd name="connsiteX3" fmla="*/ 60008 w 4286250"/>
                  <a:gd name="connsiteY3" fmla="*/ 1020128 h 1543050"/>
                  <a:gd name="connsiteX4" fmla="*/ 0 w 4286250"/>
                  <a:gd name="connsiteY4" fmla="*/ 942975 h 1543050"/>
                  <a:gd name="connsiteX5" fmla="*/ 0 w 4286250"/>
                  <a:gd name="connsiteY5" fmla="*/ 85725 h 1543050"/>
                  <a:gd name="connsiteX6" fmla="*/ 85725 w 4286250"/>
                  <a:gd name="connsiteY6" fmla="*/ 0 h 1543050"/>
                  <a:gd name="connsiteX7" fmla="*/ 4200525 w 4286250"/>
                  <a:gd name="connsiteY7" fmla="*/ 0 h 1543050"/>
                  <a:gd name="connsiteX8" fmla="*/ 4286250 w 4286250"/>
                  <a:gd name="connsiteY8" fmla="*/ 85725 h 1543050"/>
                  <a:gd name="connsiteX9" fmla="*/ 4286250 w 4286250"/>
                  <a:gd name="connsiteY9" fmla="*/ 514350 h 1543050"/>
                  <a:gd name="connsiteX10" fmla="*/ 4200525 w 4286250"/>
                  <a:gd name="connsiteY10" fmla="*/ 600075 h 1543050"/>
                  <a:gd name="connsiteX11" fmla="*/ 4114800 w 4286250"/>
                  <a:gd name="connsiteY11" fmla="*/ 514350 h 1543050"/>
                  <a:gd name="connsiteX12" fmla="*/ 4114800 w 4286250"/>
                  <a:gd name="connsiteY12" fmla="*/ 171450 h 1543050"/>
                  <a:gd name="connsiteX13" fmla="*/ 171450 w 4286250"/>
                  <a:gd name="connsiteY13" fmla="*/ 171450 h 1543050"/>
                  <a:gd name="connsiteX14" fmla="*/ 171450 w 4286250"/>
                  <a:gd name="connsiteY14" fmla="*/ 882968 h 1543050"/>
                  <a:gd name="connsiteX15" fmla="*/ 1645920 w 4286250"/>
                  <a:gd name="connsiteY15" fmla="*/ 1371600 h 1543050"/>
                  <a:gd name="connsiteX16" fmla="*/ 2400300 w 4286250"/>
                  <a:gd name="connsiteY16" fmla="*/ 1371600 h 1543050"/>
                  <a:gd name="connsiteX17" fmla="*/ 2486025 w 4286250"/>
                  <a:gd name="connsiteY17" fmla="*/ 1457325 h 1543050"/>
                  <a:gd name="connsiteX18" fmla="*/ 2400300 w 4286250"/>
                  <a:gd name="connsiteY18" fmla="*/ 1543050 h 1543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286250" h="1543050">
                    <a:moveTo>
                      <a:pt x="2400300" y="1543050"/>
                    </a:moveTo>
                    <a:lnTo>
                      <a:pt x="1628775" y="1543050"/>
                    </a:lnTo>
                    <a:cubicBezTo>
                      <a:pt x="1620203" y="1543050"/>
                      <a:pt x="1611630" y="1543050"/>
                      <a:pt x="1603058" y="1534478"/>
                    </a:cubicBezTo>
                    <a:lnTo>
                      <a:pt x="60008" y="1020128"/>
                    </a:lnTo>
                    <a:cubicBezTo>
                      <a:pt x="25718" y="1011555"/>
                      <a:pt x="0" y="977265"/>
                      <a:pt x="0" y="942975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lnTo>
                      <a:pt x="4200525" y="0"/>
                    </a:lnTo>
                    <a:cubicBezTo>
                      <a:pt x="4251960" y="0"/>
                      <a:pt x="4286250" y="34290"/>
                      <a:pt x="4286250" y="85725"/>
                    </a:cubicBezTo>
                    <a:lnTo>
                      <a:pt x="4286250" y="514350"/>
                    </a:lnTo>
                    <a:cubicBezTo>
                      <a:pt x="4286250" y="565785"/>
                      <a:pt x="4251960" y="600075"/>
                      <a:pt x="4200525" y="600075"/>
                    </a:cubicBezTo>
                    <a:cubicBezTo>
                      <a:pt x="4149090" y="600075"/>
                      <a:pt x="4114800" y="565785"/>
                      <a:pt x="4114800" y="514350"/>
                    </a:cubicBezTo>
                    <a:lnTo>
                      <a:pt x="4114800" y="171450"/>
                    </a:lnTo>
                    <a:lnTo>
                      <a:pt x="171450" y="171450"/>
                    </a:lnTo>
                    <a:lnTo>
                      <a:pt x="171450" y="882968"/>
                    </a:lnTo>
                    <a:lnTo>
                      <a:pt x="1645920" y="1371600"/>
                    </a:lnTo>
                    <a:lnTo>
                      <a:pt x="2400300" y="1371600"/>
                    </a:lnTo>
                    <a:cubicBezTo>
                      <a:pt x="2451735" y="1371600"/>
                      <a:pt x="2486025" y="1405890"/>
                      <a:pt x="2486025" y="1457325"/>
                    </a:cubicBezTo>
                    <a:cubicBezTo>
                      <a:pt x="2486025" y="1508760"/>
                      <a:pt x="2451735" y="1543050"/>
                      <a:pt x="2400300" y="154305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9" name="Freeform: Shape 1278">
                <a:extLst>
                  <a:ext uri="{FF2B5EF4-FFF2-40B4-BE49-F238E27FC236}">
                    <a16:creationId xmlns:a16="http://schemas.microsoft.com/office/drawing/2014/main" id="{95D1EAA3-F6EF-4E1C-FF8C-492C54DB43EA}"/>
                  </a:ext>
                </a:extLst>
              </p:cNvPr>
              <p:cNvSpPr/>
              <p:nvPr/>
            </p:nvSpPr>
            <p:spPr>
              <a:xfrm>
                <a:off x="-4916187" y="2303497"/>
                <a:ext cx="1885950" cy="685800"/>
              </a:xfrm>
              <a:custGeom>
                <a:avLst/>
                <a:gdLst>
                  <a:gd name="connsiteX0" fmla="*/ 1800225 w 1885950"/>
                  <a:gd name="connsiteY0" fmla="*/ 685800 h 685800"/>
                  <a:gd name="connsiteX1" fmla="*/ 85725 w 1885950"/>
                  <a:gd name="connsiteY1" fmla="*/ 685800 h 685800"/>
                  <a:gd name="connsiteX2" fmla="*/ 0 w 1885950"/>
                  <a:gd name="connsiteY2" fmla="*/ 600075 h 685800"/>
                  <a:gd name="connsiteX3" fmla="*/ 0 w 1885950"/>
                  <a:gd name="connsiteY3" fmla="*/ 85725 h 685800"/>
                  <a:gd name="connsiteX4" fmla="*/ 85725 w 1885950"/>
                  <a:gd name="connsiteY4" fmla="*/ 0 h 685800"/>
                  <a:gd name="connsiteX5" fmla="*/ 1800225 w 1885950"/>
                  <a:gd name="connsiteY5" fmla="*/ 0 h 685800"/>
                  <a:gd name="connsiteX6" fmla="*/ 1885950 w 1885950"/>
                  <a:gd name="connsiteY6" fmla="*/ 85725 h 685800"/>
                  <a:gd name="connsiteX7" fmla="*/ 1885950 w 1885950"/>
                  <a:gd name="connsiteY7" fmla="*/ 600075 h 685800"/>
                  <a:gd name="connsiteX8" fmla="*/ 1800225 w 1885950"/>
                  <a:gd name="connsiteY8" fmla="*/ 685800 h 685800"/>
                  <a:gd name="connsiteX9" fmla="*/ 171450 w 1885950"/>
                  <a:gd name="connsiteY9" fmla="*/ 514350 h 685800"/>
                  <a:gd name="connsiteX10" fmla="*/ 1714500 w 1885950"/>
                  <a:gd name="connsiteY10" fmla="*/ 514350 h 685800"/>
                  <a:gd name="connsiteX11" fmla="*/ 1714500 w 1885950"/>
                  <a:gd name="connsiteY11" fmla="*/ 171450 h 685800"/>
                  <a:gd name="connsiteX12" fmla="*/ 171450 w 1885950"/>
                  <a:gd name="connsiteY12" fmla="*/ 171450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85950" h="685800">
                    <a:moveTo>
                      <a:pt x="1800225" y="685800"/>
                    </a:moveTo>
                    <a:lnTo>
                      <a:pt x="85725" y="685800"/>
                    </a:lnTo>
                    <a:cubicBezTo>
                      <a:pt x="34290" y="685800"/>
                      <a:pt x="0" y="651510"/>
                      <a:pt x="0" y="600075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lnTo>
                      <a:pt x="1800225" y="0"/>
                    </a:lnTo>
                    <a:cubicBezTo>
                      <a:pt x="1851660" y="0"/>
                      <a:pt x="1885950" y="34290"/>
                      <a:pt x="1885950" y="85725"/>
                    </a:cubicBezTo>
                    <a:lnTo>
                      <a:pt x="1885950" y="600075"/>
                    </a:lnTo>
                    <a:cubicBezTo>
                      <a:pt x="1885950" y="651510"/>
                      <a:pt x="1851660" y="685800"/>
                      <a:pt x="1800225" y="685800"/>
                    </a:cubicBezTo>
                    <a:close/>
                    <a:moveTo>
                      <a:pt x="171450" y="514350"/>
                    </a:moveTo>
                    <a:lnTo>
                      <a:pt x="1714500" y="514350"/>
                    </a:lnTo>
                    <a:lnTo>
                      <a:pt x="1714500" y="171450"/>
                    </a:lnTo>
                    <a:lnTo>
                      <a:pt x="171450" y="171450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0" name="Freeform: Shape 1279">
                <a:extLst>
                  <a:ext uri="{FF2B5EF4-FFF2-40B4-BE49-F238E27FC236}">
                    <a16:creationId xmlns:a16="http://schemas.microsoft.com/office/drawing/2014/main" id="{97781BDC-9214-959B-CB3A-D5923FD1F894}"/>
                  </a:ext>
                </a:extLst>
              </p:cNvPr>
              <p:cNvSpPr/>
              <p:nvPr/>
            </p:nvSpPr>
            <p:spPr>
              <a:xfrm>
                <a:off x="-4316112" y="4189447"/>
                <a:ext cx="685800" cy="514350"/>
              </a:xfrm>
              <a:custGeom>
                <a:avLst/>
                <a:gdLst>
                  <a:gd name="connsiteX0" fmla="*/ 600075 w 685800"/>
                  <a:gd name="connsiteY0" fmla="*/ 514350 h 514350"/>
                  <a:gd name="connsiteX1" fmla="*/ 85725 w 685800"/>
                  <a:gd name="connsiteY1" fmla="*/ 514350 h 514350"/>
                  <a:gd name="connsiteX2" fmla="*/ 0 w 685800"/>
                  <a:gd name="connsiteY2" fmla="*/ 428625 h 514350"/>
                  <a:gd name="connsiteX3" fmla="*/ 0 w 685800"/>
                  <a:gd name="connsiteY3" fmla="*/ 85725 h 514350"/>
                  <a:gd name="connsiteX4" fmla="*/ 85725 w 685800"/>
                  <a:gd name="connsiteY4" fmla="*/ 0 h 514350"/>
                  <a:gd name="connsiteX5" fmla="*/ 600075 w 685800"/>
                  <a:gd name="connsiteY5" fmla="*/ 0 h 514350"/>
                  <a:gd name="connsiteX6" fmla="*/ 685800 w 685800"/>
                  <a:gd name="connsiteY6" fmla="*/ 85725 h 514350"/>
                  <a:gd name="connsiteX7" fmla="*/ 685800 w 685800"/>
                  <a:gd name="connsiteY7" fmla="*/ 428625 h 514350"/>
                  <a:gd name="connsiteX8" fmla="*/ 600075 w 685800"/>
                  <a:gd name="connsiteY8" fmla="*/ 514350 h 514350"/>
                  <a:gd name="connsiteX9" fmla="*/ 171450 w 685800"/>
                  <a:gd name="connsiteY9" fmla="*/ 342900 h 514350"/>
                  <a:gd name="connsiteX10" fmla="*/ 514350 w 685800"/>
                  <a:gd name="connsiteY10" fmla="*/ 342900 h 514350"/>
                  <a:gd name="connsiteX11" fmla="*/ 514350 w 685800"/>
                  <a:gd name="connsiteY11" fmla="*/ 171450 h 514350"/>
                  <a:gd name="connsiteX12" fmla="*/ 171450 w 685800"/>
                  <a:gd name="connsiteY12" fmla="*/ 171450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85800" h="514350">
                    <a:moveTo>
                      <a:pt x="600075" y="514350"/>
                    </a:moveTo>
                    <a:lnTo>
                      <a:pt x="85725" y="514350"/>
                    </a:lnTo>
                    <a:cubicBezTo>
                      <a:pt x="34290" y="514350"/>
                      <a:pt x="0" y="480060"/>
                      <a:pt x="0" y="428625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lnTo>
                      <a:pt x="600075" y="0"/>
                    </a:lnTo>
                    <a:cubicBezTo>
                      <a:pt x="651510" y="0"/>
                      <a:pt x="685800" y="34290"/>
                      <a:pt x="685800" y="85725"/>
                    </a:cubicBezTo>
                    <a:lnTo>
                      <a:pt x="685800" y="428625"/>
                    </a:lnTo>
                    <a:cubicBezTo>
                      <a:pt x="685800" y="480060"/>
                      <a:pt x="651510" y="514350"/>
                      <a:pt x="600075" y="514350"/>
                    </a:cubicBezTo>
                    <a:close/>
                    <a:moveTo>
                      <a:pt x="171450" y="342900"/>
                    </a:moveTo>
                    <a:lnTo>
                      <a:pt x="514350" y="342900"/>
                    </a:lnTo>
                    <a:lnTo>
                      <a:pt x="514350" y="171450"/>
                    </a:lnTo>
                    <a:lnTo>
                      <a:pt x="171450" y="171450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4F0BBC05-5C49-6F62-1EF4-E7E90E106832}"/>
                </a:ext>
              </a:extLst>
            </p:cNvPr>
            <p:cNvSpPr/>
            <p:nvPr/>
          </p:nvSpPr>
          <p:spPr>
            <a:xfrm>
              <a:off x="4244173" y="8940309"/>
              <a:ext cx="287922" cy="286978"/>
            </a:xfrm>
            <a:custGeom>
              <a:avLst/>
              <a:gdLst>
                <a:gd name="connsiteX0" fmla="*/ 3106962 w 5239290"/>
                <a:gd name="connsiteY0" fmla="*/ 3047577 h 5222131"/>
                <a:gd name="connsiteX1" fmla="*/ 4959797 w 5239290"/>
                <a:gd name="connsiteY1" fmla="*/ 3047577 h 5222131"/>
                <a:gd name="connsiteX2" fmla="*/ 5155819 w 5239290"/>
                <a:gd name="connsiteY2" fmla="*/ 3124465 h 5222131"/>
                <a:gd name="connsiteX3" fmla="*/ 5239290 w 5239290"/>
                <a:gd name="connsiteY3" fmla="*/ 3313520 h 5222131"/>
                <a:gd name="connsiteX4" fmla="*/ 5239290 w 5239290"/>
                <a:gd name="connsiteY4" fmla="*/ 3415166 h 5222131"/>
                <a:gd name="connsiteX5" fmla="*/ 5155819 w 5239290"/>
                <a:gd name="connsiteY5" fmla="*/ 3604222 h 5222131"/>
                <a:gd name="connsiteX6" fmla="*/ 5135921 w 5239290"/>
                <a:gd name="connsiteY6" fmla="*/ 3621210 h 5222131"/>
                <a:gd name="connsiteX7" fmla="*/ 5155819 w 5239290"/>
                <a:gd name="connsiteY7" fmla="*/ 3638198 h 5222131"/>
                <a:gd name="connsiteX8" fmla="*/ 5239290 w 5239290"/>
                <a:gd name="connsiteY8" fmla="*/ 3827253 h 5222131"/>
                <a:gd name="connsiteX9" fmla="*/ 5239290 w 5239290"/>
                <a:gd name="connsiteY9" fmla="*/ 3928899 h 5222131"/>
                <a:gd name="connsiteX10" fmla="*/ 5155780 w 5239290"/>
                <a:gd name="connsiteY10" fmla="*/ 4117915 h 5222131"/>
                <a:gd name="connsiteX11" fmla="*/ 5135882 w 5239290"/>
                <a:gd name="connsiteY11" fmla="*/ 4134913 h 5222131"/>
                <a:gd name="connsiteX12" fmla="*/ 5155780 w 5239290"/>
                <a:gd name="connsiteY12" fmla="*/ 4151901 h 5222131"/>
                <a:gd name="connsiteX13" fmla="*/ 5239252 w 5239290"/>
                <a:gd name="connsiteY13" fmla="*/ 4340957 h 5222131"/>
                <a:gd name="connsiteX14" fmla="*/ 5239252 w 5239290"/>
                <a:gd name="connsiteY14" fmla="*/ 4442563 h 5222131"/>
                <a:gd name="connsiteX15" fmla="*/ 5155740 w 5239290"/>
                <a:gd name="connsiteY15" fmla="*/ 4631579 h 5222131"/>
                <a:gd name="connsiteX16" fmla="*/ 5135842 w 5239290"/>
                <a:gd name="connsiteY16" fmla="*/ 4648577 h 5222131"/>
                <a:gd name="connsiteX17" fmla="*/ 5155740 w 5239290"/>
                <a:gd name="connsiteY17" fmla="*/ 4665566 h 5222131"/>
                <a:gd name="connsiteX18" fmla="*/ 5239252 w 5239290"/>
                <a:gd name="connsiteY18" fmla="*/ 4854582 h 5222131"/>
                <a:gd name="connsiteX19" fmla="*/ 5239252 w 5239290"/>
                <a:gd name="connsiteY19" fmla="*/ 4956188 h 5222131"/>
                <a:gd name="connsiteX20" fmla="*/ 5155701 w 5239290"/>
                <a:gd name="connsiteY20" fmla="*/ 5145165 h 5222131"/>
                <a:gd name="connsiteX21" fmla="*/ 4959759 w 5239290"/>
                <a:gd name="connsiteY21" fmla="*/ 5222132 h 5222131"/>
                <a:gd name="connsiteX22" fmla="*/ 3106923 w 5239290"/>
                <a:gd name="connsiteY22" fmla="*/ 5222132 h 5222131"/>
                <a:gd name="connsiteX23" fmla="*/ 2910901 w 5239290"/>
                <a:gd name="connsiteY23" fmla="*/ 5145204 h 5222131"/>
                <a:gd name="connsiteX24" fmla="*/ 2827440 w 5239290"/>
                <a:gd name="connsiteY24" fmla="*/ 4956188 h 5222131"/>
                <a:gd name="connsiteX25" fmla="*/ 2827440 w 5239290"/>
                <a:gd name="connsiteY25" fmla="*/ 4854582 h 5222131"/>
                <a:gd name="connsiteX26" fmla="*/ 2910901 w 5239290"/>
                <a:gd name="connsiteY26" fmla="*/ 4665526 h 5222131"/>
                <a:gd name="connsiteX27" fmla="*/ 2930809 w 5239290"/>
                <a:gd name="connsiteY27" fmla="*/ 4648538 h 5222131"/>
                <a:gd name="connsiteX28" fmla="*/ 2910941 w 5239290"/>
                <a:gd name="connsiteY28" fmla="*/ 4631540 h 5222131"/>
                <a:gd name="connsiteX29" fmla="*/ 2827479 w 5239290"/>
                <a:gd name="connsiteY29" fmla="*/ 4442524 h 5222131"/>
                <a:gd name="connsiteX30" fmla="*/ 2827479 w 5239290"/>
                <a:gd name="connsiteY30" fmla="*/ 4340918 h 5222131"/>
                <a:gd name="connsiteX31" fmla="*/ 2910941 w 5239290"/>
                <a:gd name="connsiteY31" fmla="*/ 4151862 h 5222131"/>
                <a:gd name="connsiteX32" fmla="*/ 2930839 w 5239290"/>
                <a:gd name="connsiteY32" fmla="*/ 4134874 h 5222131"/>
                <a:gd name="connsiteX33" fmla="*/ 2910980 w 5239290"/>
                <a:gd name="connsiteY33" fmla="*/ 4117876 h 5222131"/>
                <a:gd name="connsiteX34" fmla="*/ 2827518 w 5239290"/>
                <a:gd name="connsiteY34" fmla="*/ 3928860 h 5222131"/>
                <a:gd name="connsiteX35" fmla="*/ 2827518 w 5239290"/>
                <a:gd name="connsiteY35" fmla="*/ 3827214 h 5222131"/>
                <a:gd name="connsiteX36" fmla="*/ 2910980 w 5239290"/>
                <a:gd name="connsiteY36" fmla="*/ 3638159 h 5222131"/>
                <a:gd name="connsiteX37" fmla="*/ 2930878 w 5239290"/>
                <a:gd name="connsiteY37" fmla="*/ 3621170 h 5222131"/>
                <a:gd name="connsiteX38" fmla="*/ 2911019 w 5239290"/>
                <a:gd name="connsiteY38" fmla="*/ 3604212 h 5222131"/>
                <a:gd name="connsiteX39" fmla="*/ 2827557 w 5239290"/>
                <a:gd name="connsiteY39" fmla="*/ 3415156 h 5222131"/>
                <a:gd name="connsiteX40" fmla="*/ 2827557 w 5239290"/>
                <a:gd name="connsiteY40" fmla="*/ 3313511 h 5222131"/>
                <a:gd name="connsiteX41" fmla="*/ 2911019 w 5239290"/>
                <a:gd name="connsiteY41" fmla="*/ 3124465 h 5222131"/>
                <a:gd name="connsiteX42" fmla="*/ 3107040 w 5239290"/>
                <a:gd name="connsiteY42" fmla="*/ 3047577 h 5222131"/>
                <a:gd name="connsiteX43" fmla="*/ 4032674 w 5239290"/>
                <a:gd name="connsiteY43" fmla="*/ 538431 h 5222131"/>
                <a:gd name="connsiteX44" fmla="*/ 4876914 w 5239290"/>
                <a:gd name="connsiteY44" fmla="*/ 888140 h 5222131"/>
                <a:gd name="connsiteX45" fmla="*/ 5226623 w 5239290"/>
                <a:gd name="connsiteY45" fmla="*/ 1732379 h 5222131"/>
                <a:gd name="connsiteX46" fmla="*/ 4876914 w 5239290"/>
                <a:gd name="connsiteY46" fmla="*/ 2576619 h 5222131"/>
                <a:gd name="connsiteX47" fmla="*/ 4032674 w 5239290"/>
                <a:gd name="connsiteY47" fmla="*/ 2926328 h 5222131"/>
                <a:gd name="connsiteX48" fmla="*/ 3188435 w 5239290"/>
                <a:gd name="connsiteY48" fmla="*/ 2576619 h 5222131"/>
                <a:gd name="connsiteX49" fmla="*/ 3073015 w 5239290"/>
                <a:gd name="connsiteY49" fmla="*/ 2442790 h 5222131"/>
                <a:gd name="connsiteX50" fmla="*/ 898441 w 5239290"/>
                <a:gd name="connsiteY50" fmla="*/ 3312325 h 5222131"/>
                <a:gd name="connsiteX51" fmla="*/ 898216 w 5239290"/>
                <a:gd name="connsiteY51" fmla="*/ 3312325 h 5222131"/>
                <a:gd name="connsiteX52" fmla="*/ 830547 w 5239290"/>
                <a:gd name="connsiteY52" fmla="*/ 3325032 h 5222131"/>
                <a:gd name="connsiteX53" fmla="*/ 762701 w 5239290"/>
                <a:gd name="connsiteY53" fmla="*/ 3310915 h 5222131"/>
                <a:gd name="connsiteX54" fmla="*/ 762124 w 5239290"/>
                <a:gd name="connsiteY54" fmla="*/ 3310640 h 5222131"/>
                <a:gd name="connsiteX55" fmla="*/ 704908 w 5239290"/>
                <a:gd name="connsiteY55" fmla="*/ 3271305 h 5222131"/>
                <a:gd name="connsiteX56" fmla="*/ 667326 w 5239290"/>
                <a:gd name="connsiteY56" fmla="*/ 3213247 h 5222131"/>
                <a:gd name="connsiteX57" fmla="*/ 667248 w 5239290"/>
                <a:gd name="connsiteY57" fmla="*/ 3213286 h 5222131"/>
                <a:gd name="connsiteX58" fmla="*/ 12568 w 5239290"/>
                <a:gd name="connsiteY58" fmla="*/ 1575204 h 5222131"/>
                <a:gd name="connsiteX59" fmla="*/ 12568 w 5239290"/>
                <a:gd name="connsiteY59" fmla="*/ 1574969 h 5222131"/>
                <a:gd name="connsiteX60" fmla="*/ 16 w 5239290"/>
                <a:gd name="connsiteY60" fmla="*/ 1507231 h 5222131"/>
                <a:gd name="connsiteX61" fmla="*/ 5680 w 5239290"/>
                <a:gd name="connsiteY61" fmla="*/ 1464868 h 5222131"/>
                <a:gd name="connsiteX62" fmla="*/ 4417 w 5239290"/>
                <a:gd name="connsiteY62" fmla="*/ 1461772 h 5222131"/>
                <a:gd name="connsiteX63" fmla="*/ 14214 w 5239290"/>
                <a:gd name="connsiteY63" fmla="*/ 1438886 h 5222131"/>
                <a:gd name="connsiteX64" fmla="*/ 53518 w 5239290"/>
                <a:gd name="connsiteY64" fmla="*/ 1381710 h 5222131"/>
                <a:gd name="connsiteX65" fmla="*/ 111574 w 5239290"/>
                <a:gd name="connsiteY65" fmla="*/ 1344050 h 5222131"/>
                <a:gd name="connsiteX66" fmla="*/ 3442602 w 5239290"/>
                <a:gd name="connsiteY66" fmla="*/ 12715 h 5222131"/>
                <a:gd name="connsiteX67" fmla="*/ 3510536 w 5239290"/>
                <a:gd name="connsiteY67" fmla="*/ 9 h 5222131"/>
                <a:gd name="connsiteX68" fmla="*/ 3578538 w 5239290"/>
                <a:gd name="connsiteY68" fmla="*/ 14169 h 5222131"/>
                <a:gd name="connsiteX69" fmla="*/ 3601424 w 5239290"/>
                <a:gd name="connsiteY69" fmla="*/ 23966 h 5222131"/>
                <a:gd name="connsiteX70" fmla="*/ 3602648 w 5239290"/>
                <a:gd name="connsiteY70" fmla="*/ 27142 h 5222131"/>
                <a:gd name="connsiteX71" fmla="*/ 3635831 w 5239290"/>
                <a:gd name="connsiteY71" fmla="*/ 53701 h 5222131"/>
                <a:gd name="connsiteX72" fmla="*/ 3673178 w 5239290"/>
                <a:gd name="connsiteY72" fmla="*/ 110609 h 5222131"/>
                <a:gd name="connsiteX73" fmla="*/ 3673256 w 5239290"/>
                <a:gd name="connsiteY73" fmla="*/ 110571 h 5222131"/>
                <a:gd name="connsiteX74" fmla="*/ 3861695 w 5239290"/>
                <a:gd name="connsiteY74" fmla="*/ 550600 h 5222131"/>
                <a:gd name="connsiteX75" fmla="*/ 4032606 w 5239290"/>
                <a:gd name="connsiteY75" fmla="*/ 538430 h 5222131"/>
                <a:gd name="connsiteX76" fmla="*/ 3005346 w 5239290"/>
                <a:gd name="connsiteY76" fmla="*/ 2341105 h 5222131"/>
                <a:gd name="connsiteX77" fmla="*/ 2944535 w 5239290"/>
                <a:gd name="connsiteY77" fmla="*/ 2224421 h 5222131"/>
                <a:gd name="connsiteX78" fmla="*/ 1080335 w 5239290"/>
                <a:gd name="connsiteY78" fmla="*/ 2969582 h 5222131"/>
                <a:gd name="connsiteX79" fmla="*/ 1064718 w 5239290"/>
                <a:gd name="connsiteY79" fmla="*/ 2934450 h 5222131"/>
                <a:gd name="connsiteX80" fmla="*/ 1064071 w 5239290"/>
                <a:gd name="connsiteY80" fmla="*/ 2933147 h 5222131"/>
                <a:gd name="connsiteX81" fmla="*/ 985077 w 5239290"/>
                <a:gd name="connsiteY81" fmla="*/ 2849342 h 5222131"/>
                <a:gd name="connsiteX82" fmla="*/ 876201 w 5239290"/>
                <a:gd name="connsiteY82" fmla="*/ 2846089 h 5222131"/>
                <a:gd name="connsiteX83" fmla="*/ 838933 w 5239290"/>
                <a:gd name="connsiteY83" fmla="*/ 2860050 h 5222131"/>
                <a:gd name="connsiteX84" fmla="*/ 380035 w 5239290"/>
                <a:gd name="connsiteY84" fmla="*/ 1711923 h 5222131"/>
                <a:gd name="connsiteX85" fmla="*/ 417117 w 5239290"/>
                <a:gd name="connsiteY85" fmla="*/ 1697080 h 5222131"/>
                <a:gd name="connsiteX86" fmla="*/ 493574 w 5239290"/>
                <a:gd name="connsiteY86" fmla="*/ 1619732 h 5222131"/>
                <a:gd name="connsiteX87" fmla="*/ 493123 w 5239290"/>
                <a:gd name="connsiteY87" fmla="*/ 1504458 h 5222131"/>
                <a:gd name="connsiteX88" fmla="*/ 478388 w 5239290"/>
                <a:gd name="connsiteY88" fmla="*/ 1467572 h 5222131"/>
                <a:gd name="connsiteX89" fmla="*/ 3267635 w 5239290"/>
                <a:gd name="connsiteY89" fmla="*/ 352752 h 5222131"/>
                <a:gd name="connsiteX90" fmla="*/ 3278079 w 5239290"/>
                <a:gd name="connsiteY90" fmla="*/ 394581 h 5222131"/>
                <a:gd name="connsiteX91" fmla="*/ 3355956 w 5239290"/>
                <a:gd name="connsiteY91" fmla="*/ 475713 h 5222131"/>
                <a:gd name="connsiteX92" fmla="*/ 3464724 w 5239290"/>
                <a:gd name="connsiteY92" fmla="*/ 478966 h 5222131"/>
                <a:gd name="connsiteX93" fmla="*/ 3502267 w 5239290"/>
                <a:gd name="connsiteY93" fmla="*/ 466452 h 5222131"/>
                <a:gd name="connsiteX94" fmla="*/ 3570161 w 5239290"/>
                <a:gd name="connsiteY94" fmla="*/ 631397 h 5222131"/>
                <a:gd name="connsiteX95" fmla="*/ 3741729 w 5239290"/>
                <a:gd name="connsiteY95" fmla="*/ 574222 h 5222131"/>
                <a:gd name="connsiteX96" fmla="*/ 3563234 w 5239290"/>
                <a:gd name="connsiteY96" fmla="*/ 157461 h 5222131"/>
                <a:gd name="connsiteX97" fmla="*/ 3562774 w 5239290"/>
                <a:gd name="connsiteY97" fmla="*/ 156084 h 5222131"/>
                <a:gd name="connsiteX98" fmla="*/ 3550645 w 5239290"/>
                <a:gd name="connsiteY98" fmla="*/ 137599 h 5222131"/>
                <a:gd name="connsiteX99" fmla="*/ 3531658 w 5239290"/>
                <a:gd name="connsiteY99" fmla="*/ 124626 h 5222131"/>
                <a:gd name="connsiteX100" fmla="*/ 3526270 w 5239290"/>
                <a:gd name="connsiteY100" fmla="*/ 122329 h 5222131"/>
                <a:gd name="connsiteX101" fmla="*/ 3509576 w 5239290"/>
                <a:gd name="connsiteY101" fmla="*/ 119421 h 5222131"/>
                <a:gd name="connsiteX102" fmla="*/ 3487081 w 5239290"/>
                <a:gd name="connsiteY102" fmla="*/ 123745 h 5222131"/>
                <a:gd name="connsiteX103" fmla="*/ 156049 w 5239290"/>
                <a:gd name="connsiteY103" fmla="*/ 1455081 h 5222131"/>
                <a:gd name="connsiteX104" fmla="*/ 136837 w 5239290"/>
                <a:gd name="connsiteY104" fmla="*/ 1467445 h 5222131"/>
                <a:gd name="connsiteX105" fmla="*/ 126735 w 5239290"/>
                <a:gd name="connsiteY105" fmla="*/ 1480602 h 5222131"/>
                <a:gd name="connsiteX106" fmla="*/ 124362 w 5239290"/>
                <a:gd name="connsiteY106" fmla="*/ 1486157 h 5222131"/>
                <a:gd name="connsiteX107" fmla="*/ 119387 w 5239290"/>
                <a:gd name="connsiteY107" fmla="*/ 1508701 h 5222131"/>
                <a:gd name="connsiteX108" fmla="*/ 123405 w 5239290"/>
                <a:gd name="connsiteY108" fmla="*/ 1530813 h 5222131"/>
                <a:gd name="connsiteX109" fmla="*/ 123481 w 5239290"/>
                <a:gd name="connsiteY109" fmla="*/ 1530774 h 5222131"/>
                <a:gd name="connsiteX110" fmla="*/ 778201 w 5239290"/>
                <a:gd name="connsiteY110" fmla="*/ 3168856 h 5222131"/>
                <a:gd name="connsiteX111" fmla="*/ 778201 w 5239290"/>
                <a:gd name="connsiteY111" fmla="*/ 3169091 h 5222131"/>
                <a:gd name="connsiteX112" fmla="*/ 790565 w 5239290"/>
                <a:gd name="connsiteY112" fmla="*/ 3188029 h 5222131"/>
                <a:gd name="connsiteX113" fmla="*/ 808895 w 5239290"/>
                <a:gd name="connsiteY113" fmla="*/ 3200667 h 5222131"/>
                <a:gd name="connsiteX114" fmla="*/ 809473 w 5239290"/>
                <a:gd name="connsiteY114" fmla="*/ 3200971 h 5222131"/>
                <a:gd name="connsiteX115" fmla="*/ 831477 w 5239290"/>
                <a:gd name="connsiteY115" fmla="*/ 3205713 h 5222131"/>
                <a:gd name="connsiteX116" fmla="*/ 853942 w 5239290"/>
                <a:gd name="connsiteY116" fmla="*/ 3201500 h 5222131"/>
                <a:gd name="connsiteX117" fmla="*/ 853903 w 5239290"/>
                <a:gd name="connsiteY117" fmla="*/ 3201432 h 5222131"/>
                <a:gd name="connsiteX118" fmla="*/ 3005258 w 5239290"/>
                <a:gd name="connsiteY118" fmla="*/ 2341154 h 5222131"/>
                <a:gd name="connsiteX119" fmla="*/ 2914115 w 5239290"/>
                <a:gd name="connsiteY119" fmla="*/ 2150747 h 5222131"/>
                <a:gd name="connsiteX120" fmla="*/ 2838716 w 5239290"/>
                <a:gd name="connsiteY120" fmla="*/ 1732379 h 5222131"/>
                <a:gd name="connsiteX121" fmla="*/ 3188425 w 5239290"/>
                <a:gd name="connsiteY121" fmla="*/ 888140 h 5222131"/>
                <a:gd name="connsiteX122" fmla="*/ 3497760 w 5239290"/>
                <a:gd name="connsiteY122" fmla="*/ 664677 h 5222131"/>
                <a:gd name="connsiteX123" fmla="*/ 3456397 w 5239290"/>
                <a:gd name="connsiteY123" fmla="*/ 564138 h 5222131"/>
                <a:gd name="connsiteX124" fmla="*/ 3322911 w 5239290"/>
                <a:gd name="connsiteY124" fmla="*/ 548065 h 5222131"/>
                <a:gd name="connsiteX125" fmla="*/ 3220883 w 5239290"/>
                <a:gd name="connsiteY125" fmla="*/ 457212 h 5222131"/>
                <a:gd name="connsiteX126" fmla="*/ 578789 w 5239290"/>
                <a:gd name="connsiteY126" fmla="*/ 1513247 h 5222131"/>
                <a:gd name="connsiteX127" fmla="*/ 567572 w 5239290"/>
                <a:gd name="connsiteY127" fmla="*/ 1649378 h 5222131"/>
                <a:gd name="connsiteX128" fmla="*/ 482229 w 5239290"/>
                <a:gd name="connsiteY128" fmla="*/ 1752787 h 5222131"/>
                <a:gd name="connsiteX129" fmla="*/ 885097 w 5239290"/>
                <a:gd name="connsiteY129" fmla="*/ 2760717 h 5222131"/>
                <a:gd name="connsiteX130" fmla="*/ 1018201 w 5239290"/>
                <a:gd name="connsiteY130" fmla="*/ 2776823 h 5222131"/>
                <a:gd name="connsiteX131" fmla="*/ 1120229 w 5239290"/>
                <a:gd name="connsiteY131" fmla="*/ 2867682 h 5222131"/>
                <a:gd name="connsiteX132" fmla="*/ 2914086 w 5239290"/>
                <a:gd name="connsiteY132" fmla="*/ 2150649 h 5222131"/>
                <a:gd name="connsiteX133" fmla="*/ 4792119 w 5239290"/>
                <a:gd name="connsiteY133" fmla="*/ 972934 h 5222131"/>
                <a:gd name="connsiteX134" fmla="*/ 4032655 w 5239290"/>
                <a:gd name="connsiteY134" fmla="*/ 658358 h 5222131"/>
                <a:gd name="connsiteX135" fmla="*/ 3273171 w 5239290"/>
                <a:gd name="connsiteY135" fmla="*/ 972934 h 5222131"/>
                <a:gd name="connsiteX136" fmla="*/ 2958594 w 5239290"/>
                <a:gd name="connsiteY136" fmla="*/ 1732409 h 5222131"/>
                <a:gd name="connsiteX137" fmla="*/ 3273171 w 5239290"/>
                <a:gd name="connsiteY137" fmla="*/ 2491883 h 5222131"/>
                <a:gd name="connsiteX138" fmla="*/ 4032655 w 5239290"/>
                <a:gd name="connsiteY138" fmla="*/ 2806460 h 5222131"/>
                <a:gd name="connsiteX139" fmla="*/ 4792119 w 5239290"/>
                <a:gd name="connsiteY139" fmla="*/ 2491883 h 5222131"/>
                <a:gd name="connsiteX140" fmla="*/ 5106696 w 5239290"/>
                <a:gd name="connsiteY140" fmla="*/ 1732409 h 5222131"/>
                <a:gd name="connsiteX141" fmla="*/ 4792119 w 5239290"/>
                <a:gd name="connsiteY141" fmla="*/ 972934 h 5222131"/>
                <a:gd name="connsiteX142" fmla="*/ 1967113 w 5239290"/>
                <a:gd name="connsiteY142" fmla="*/ 1311396 h 5222131"/>
                <a:gd name="connsiteX143" fmla="*/ 1985836 w 5239290"/>
                <a:gd name="connsiteY143" fmla="*/ 1258315 h 5222131"/>
                <a:gd name="connsiteX144" fmla="*/ 2038916 w 5239290"/>
                <a:gd name="connsiteY144" fmla="*/ 1277028 h 5222131"/>
                <a:gd name="connsiteX145" fmla="*/ 2077645 w 5239290"/>
                <a:gd name="connsiteY145" fmla="*/ 1358050 h 5222131"/>
                <a:gd name="connsiteX146" fmla="*/ 2139445 w 5239290"/>
                <a:gd name="connsiteY146" fmla="*/ 1352074 h 5222131"/>
                <a:gd name="connsiteX147" fmla="*/ 2305732 w 5239290"/>
                <a:gd name="connsiteY147" fmla="*/ 1448820 h 5222131"/>
                <a:gd name="connsiteX148" fmla="*/ 2294789 w 5239290"/>
                <a:gd name="connsiteY148" fmla="*/ 1504086 h 5222131"/>
                <a:gd name="connsiteX149" fmla="*/ 2239533 w 5239290"/>
                <a:gd name="connsiteY149" fmla="*/ 1493143 h 5222131"/>
                <a:gd name="connsiteX150" fmla="*/ 2135663 w 5239290"/>
                <a:gd name="connsiteY150" fmla="*/ 1431636 h 5222131"/>
                <a:gd name="connsiteX151" fmla="*/ 2070405 w 5239290"/>
                <a:gd name="connsiteY151" fmla="*/ 1444461 h 5222131"/>
                <a:gd name="connsiteX152" fmla="*/ 2019087 w 5239290"/>
                <a:gd name="connsiteY152" fmla="*/ 1483845 h 5222131"/>
                <a:gd name="connsiteX153" fmla="*/ 1998611 w 5239290"/>
                <a:gd name="connsiteY153" fmla="*/ 1579132 h 5222131"/>
                <a:gd name="connsiteX154" fmla="*/ 2173353 w 5239290"/>
                <a:gd name="connsiteY154" fmla="*/ 1623905 h 5222131"/>
                <a:gd name="connsiteX155" fmla="*/ 2418164 w 5239290"/>
                <a:gd name="connsiteY155" fmla="*/ 1709522 h 5222131"/>
                <a:gd name="connsiteX156" fmla="*/ 2422494 w 5239290"/>
                <a:gd name="connsiteY156" fmla="*/ 1723836 h 5222131"/>
                <a:gd name="connsiteX157" fmla="*/ 2368796 w 5239290"/>
                <a:gd name="connsiteY157" fmla="*/ 1898274 h 5222131"/>
                <a:gd name="connsiteX158" fmla="*/ 2345342 w 5239290"/>
                <a:gd name="connsiteY158" fmla="*/ 1918211 h 5222131"/>
                <a:gd name="connsiteX159" fmla="*/ 2387930 w 5239290"/>
                <a:gd name="connsiteY159" fmla="*/ 2007307 h 5222131"/>
                <a:gd name="connsiteX160" fmla="*/ 2369218 w 5239290"/>
                <a:gd name="connsiteY160" fmla="*/ 2060388 h 5222131"/>
                <a:gd name="connsiteX161" fmla="*/ 2316137 w 5239290"/>
                <a:gd name="connsiteY161" fmla="*/ 2041665 h 5222131"/>
                <a:gd name="connsiteX162" fmla="*/ 2273813 w 5239290"/>
                <a:gd name="connsiteY162" fmla="*/ 1953148 h 5222131"/>
                <a:gd name="connsiteX163" fmla="*/ 2190763 w 5239290"/>
                <a:gd name="connsiteY163" fmla="*/ 1960731 h 5222131"/>
                <a:gd name="connsiteX164" fmla="*/ 2049586 w 5239290"/>
                <a:gd name="connsiteY164" fmla="*/ 1864131 h 5222131"/>
                <a:gd name="connsiteX165" fmla="*/ 2067534 w 5239290"/>
                <a:gd name="connsiteY165" fmla="*/ 1810590 h 5222131"/>
                <a:gd name="connsiteX166" fmla="*/ 2121036 w 5239290"/>
                <a:gd name="connsiteY166" fmla="*/ 1828538 h 5222131"/>
                <a:gd name="connsiteX167" fmla="*/ 2199188 w 5239290"/>
                <a:gd name="connsiteY167" fmla="*/ 1881433 h 5222131"/>
                <a:gd name="connsiteX168" fmla="*/ 2259881 w 5239290"/>
                <a:gd name="connsiteY168" fmla="*/ 1874046 h 5222131"/>
                <a:gd name="connsiteX169" fmla="*/ 2312884 w 5239290"/>
                <a:gd name="connsiteY169" fmla="*/ 1841519 h 5222131"/>
                <a:gd name="connsiteX170" fmla="*/ 2344764 w 5239290"/>
                <a:gd name="connsiteY170" fmla="*/ 1741824 h 5222131"/>
                <a:gd name="connsiteX171" fmla="*/ 2188010 w 5239290"/>
                <a:gd name="connsiteY171" fmla="*/ 1702282 h 5222131"/>
                <a:gd name="connsiteX172" fmla="*/ 1928650 w 5239290"/>
                <a:gd name="connsiteY172" fmla="*/ 1617478 h 5222131"/>
                <a:gd name="connsiteX173" fmla="*/ 1923026 w 5239290"/>
                <a:gd name="connsiteY173" fmla="*/ 1605506 h 5222131"/>
                <a:gd name="connsiteX174" fmla="*/ 1956630 w 5239290"/>
                <a:gd name="connsiteY174" fmla="*/ 1434595 h 5222131"/>
                <a:gd name="connsiteX175" fmla="*/ 2004695 w 5239290"/>
                <a:gd name="connsiteY175" fmla="*/ 1390194 h 5222131"/>
                <a:gd name="connsiteX176" fmla="*/ 1967035 w 5239290"/>
                <a:gd name="connsiteY176" fmla="*/ 1311396 h 5222131"/>
                <a:gd name="connsiteX177" fmla="*/ 3972785 w 5239290"/>
                <a:gd name="connsiteY177" fmla="*/ 964704 h 5222131"/>
                <a:gd name="connsiteX178" fmla="*/ 4032723 w 5239290"/>
                <a:gd name="connsiteY178" fmla="*/ 904775 h 5222131"/>
                <a:gd name="connsiteX179" fmla="*/ 4092652 w 5239290"/>
                <a:gd name="connsiteY179" fmla="*/ 964704 h 5222131"/>
                <a:gd name="connsiteX180" fmla="*/ 4092652 w 5239290"/>
                <a:gd name="connsiteY180" fmla="*/ 1149586 h 5222131"/>
                <a:gd name="connsiteX181" fmla="*/ 4157823 w 5239290"/>
                <a:gd name="connsiteY181" fmla="*/ 1168759 h 5222131"/>
                <a:gd name="connsiteX182" fmla="*/ 4408757 w 5239290"/>
                <a:gd name="connsiteY182" fmla="*/ 1479172 h 5222131"/>
                <a:gd name="connsiteX183" fmla="*/ 4358165 w 5239290"/>
                <a:gd name="connsiteY183" fmla="*/ 1547066 h 5222131"/>
                <a:gd name="connsiteX184" fmla="*/ 4290271 w 5239290"/>
                <a:gd name="connsiteY184" fmla="*/ 1496513 h 5222131"/>
                <a:gd name="connsiteX185" fmla="*/ 4115186 w 5239290"/>
                <a:gd name="connsiteY185" fmla="*/ 1280662 h 5222131"/>
                <a:gd name="connsiteX186" fmla="*/ 3989851 w 5239290"/>
                <a:gd name="connsiteY186" fmla="*/ 1259354 h 5222131"/>
                <a:gd name="connsiteX187" fmla="*/ 3876038 w 5239290"/>
                <a:gd name="connsiteY187" fmla="*/ 1286717 h 5222131"/>
                <a:gd name="connsiteX188" fmla="*/ 3775578 w 5239290"/>
                <a:gd name="connsiteY188" fmla="*/ 1446645 h 5222131"/>
                <a:gd name="connsiteX189" fmla="*/ 4051965 w 5239290"/>
                <a:gd name="connsiteY189" fmla="*/ 1684648 h 5222131"/>
                <a:gd name="connsiteX190" fmla="*/ 4387321 w 5239290"/>
                <a:gd name="connsiteY190" fmla="*/ 2023374 h 5222131"/>
                <a:gd name="connsiteX191" fmla="*/ 4184716 w 5239290"/>
                <a:gd name="connsiteY191" fmla="*/ 2286212 h 5222131"/>
                <a:gd name="connsiteX192" fmla="*/ 4092603 w 5239290"/>
                <a:gd name="connsiteY192" fmla="*/ 2306110 h 5222131"/>
                <a:gd name="connsiteX193" fmla="*/ 4092603 w 5239290"/>
                <a:gd name="connsiteY193" fmla="*/ 2500064 h 5222131"/>
                <a:gd name="connsiteX194" fmla="*/ 4032674 w 5239290"/>
                <a:gd name="connsiteY194" fmla="*/ 2559993 h 5222131"/>
                <a:gd name="connsiteX195" fmla="*/ 3972745 w 5239290"/>
                <a:gd name="connsiteY195" fmla="*/ 2500064 h 5222131"/>
                <a:gd name="connsiteX196" fmla="*/ 3972745 w 5239290"/>
                <a:gd name="connsiteY196" fmla="*/ 2300643 h 5222131"/>
                <a:gd name="connsiteX197" fmla="*/ 3871746 w 5239290"/>
                <a:gd name="connsiteY197" fmla="*/ 2269909 h 5222131"/>
                <a:gd name="connsiteX198" fmla="*/ 3662332 w 5239290"/>
                <a:gd name="connsiteY198" fmla="*/ 1977866 h 5222131"/>
                <a:gd name="connsiteX199" fmla="*/ 3721115 w 5239290"/>
                <a:gd name="connsiteY199" fmla="*/ 1917251 h 5222131"/>
                <a:gd name="connsiteX200" fmla="*/ 3781730 w 5239290"/>
                <a:gd name="connsiteY200" fmla="*/ 1976034 h 5222131"/>
                <a:gd name="connsiteX201" fmla="*/ 3919998 w 5239290"/>
                <a:gd name="connsiteY201" fmla="*/ 2160377 h 5222131"/>
                <a:gd name="connsiteX202" fmla="*/ 4024631 w 5239290"/>
                <a:gd name="connsiteY202" fmla="*/ 2187123 h 5222131"/>
                <a:gd name="connsiteX203" fmla="*/ 4032704 w 5239290"/>
                <a:gd name="connsiteY203" fmla="*/ 2186594 h 5222131"/>
                <a:gd name="connsiteX204" fmla="*/ 4047096 w 5239290"/>
                <a:gd name="connsiteY204" fmla="*/ 2188309 h 5222131"/>
                <a:gd name="connsiteX205" fmla="*/ 4144989 w 5239290"/>
                <a:gd name="connsiteY205" fmla="*/ 2173388 h 5222131"/>
                <a:gd name="connsiteX206" fmla="*/ 4268452 w 5239290"/>
                <a:gd name="connsiteY206" fmla="*/ 2012156 h 5222131"/>
                <a:gd name="connsiteX207" fmla="*/ 4023445 w 5239290"/>
                <a:gd name="connsiteY207" fmla="*/ 1800793 h 5222131"/>
                <a:gd name="connsiteX208" fmla="*/ 3656209 w 5239290"/>
                <a:gd name="connsiteY208" fmla="*/ 1443393 h 5222131"/>
                <a:gd name="connsiteX209" fmla="*/ 3822222 w 5239290"/>
                <a:gd name="connsiteY209" fmla="*/ 1179938 h 5222131"/>
                <a:gd name="connsiteX210" fmla="*/ 3972814 w 5239290"/>
                <a:gd name="connsiteY210" fmla="*/ 1140553 h 5222131"/>
                <a:gd name="connsiteX211" fmla="*/ 3972814 w 5239290"/>
                <a:gd name="connsiteY211" fmla="*/ 964665 h 5222131"/>
                <a:gd name="connsiteX212" fmla="*/ 1931550 w 5239290"/>
                <a:gd name="connsiteY212" fmla="*/ 1064626 h 5222131"/>
                <a:gd name="connsiteX213" fmla="*/ 2424277 w 5239290"/>
                <a:gd name="connsiteY213" fmla="*/ 1070670 h 5222131"/>
                <a:gd name="connsiteX214" fmla="*/ 2768520 w 5239290"/>
                <a:gd name="connsiteY214" fmla="*/ 1423485 h 5222131"/>
                <a:gd name="connsiteX215" fmla="*/ 2762436 w 5239290"/>
                <a:gd name="connsiteY215" fmla="*/ 1916213 h 5222131"/>
                <a:gd name="connsiteX216" fmla="*/ 2409621 w 5239290"/>
                <a:gd name="connsiteY216" fmla="*/ 2260416 h 5222131"/>
                <a:gd name="connsiteX217" fmla="*/ 2409582 w 5239290"/>
                <a:gd name="connsiteY217" fmla="*/ 2260337 h 5222131"/>
                <a:gd name="connsiteX218" fmla="*/ 2409435 w 5239290"/>
                <a:gd name="connsiteY218" fmla="*/ 2260416 h 5222131"/>
                <a:gd name="connsiteX219" fmla="*/ 1916903 w 5239290"/>
                <a:gd name="connsiteY219" fmla="*/ 2254332 h 5222131"/>
                <a:gd name="connsiteX220" fmla="*/ 1572778 w 5239290"/>
                <a:gd name="connsiteY220" fmla="*/ 1901556 h 5222131"/>
                <a:gd name="connsiteX221" fmla="*/ 1578823 w 5239290"/>
                <a:gd name="connsiteY221" fmla="*/ 1408789 h 5222131"/>
                <a:gd name="connsiteX222" fmla="*/ 1931599 w 5239290"/>
                <a:gd name="connsiteY222" fmla="*/ 1064586 h 5222131"/>
                <a:gd name="connsiteX223" fmla="*/ 2393054 w 5239290"/>
                <a:gd name="connsiteY223" fmla="*/ 1144031 h 5222131"/>
                <a:gd name="connsiteX224" fmla="*/ 1961176 w 5239290"/>
                <a:gd name="connsiteY224" fmla="*/ 1138604 h 5222131"/>
                <a:gd name="connsiteX225" fmla="*/ 1652106 w 5239290"/>
                <a:gd name="connsiteY225" fmla="*/ 1440062 h 5222131"/>
                <a:gd name="connsiteX226" fmla="*/ 1646668 w 5239290"/>
                <a:gd name="connsiteY226" fmla="*/ 1871900 h 5222131"/>
                <a:gd name="connsiteX227" fmla="*/ 1948087 w 5239290"/>
                <a:gd name="connsiteY227" fmla="*/ 2181010 h 5222131"/>
                <a:gd name="connsiteX228" fmla="*/ 2379161 w 5239290"/>
                <a:gd name="connsiteY228" fmla="*/ 2186830 h 5222131"/>
                <a:gd name="connsiteX229" fmla="*/ 2379926 w 5239290"/>
                <a:gd name="connsiteY229" fmla="*/ 2186438 h 5222131"/>
                <a:gd name="connsiteX230" fmla="*/ 2689035 w 5239290"/>
                <a:gd name="connsiteY230" fmla="*/ 1885019 h 5222131"/>
                <a:gd name="connsiteX231" fmla="*/ 2694473 w 5239290"/>
                <a:gd name="connsiteY231" fmla="*/ 1453141 h 5222131"/>
                <a:gd name="connsiteX232" fmla="*/ 2393015 w 5239290"/>
                <a:gd name="connsiteY232" fmla="*/ 1144031 h 5222131"/>
                <a:gd name="connsiteX233" fmla="*/ 1215329 w 5239290"/>
                <a:gd name="connsiteY233" fmla="*/ 1837943 h 5222131"/>
                <a:gd name="connsiteX234" fmla="*/ 1215486 w 5239290"/>
                <a:gd name="connsiteY234" fmla="*/ 1837875 h 5222131"/>
                <a:gd name="connsiteX235" fmla="*/ 1361983 w 5239290"/>
                <a:gd name="connsiteY235" fmla="*/ 1839589 h 5222131"/>
                <a:gd name="connsiteX236" fmla="*/ 1464471 w 5239290"/>
                <a:gd name="connsiteY236" fmla="*/ 1944644 h 5222131"/>
                <a:gd name="connsiteX237" fmla="*/ 1464393 w 5239290"/>
                <a:gd name="connsiteY237" fmla="*/ 1944683 h 5222131"/>
                <a:gd name="connsiteX238" fmla="*/ 1464471 w 5239290"/>
                <a:gd name="connsiteY238" fmla="*/ 1944879 h 5222131"/>
                <a:gd name="connsiteX239" fmla="*/ 1462707 w 5239290"/>
                <a:gd name="connsiteY239" fmla="*/ 2091376 h 5222131"/>
                <a:gd name="connsiteX240" fmla="*/ 1357653 w 5239290"/>
                <a:gd name="connsiteY240" fmla="*/ 2193903 h 5222131"/>
                <a:gd name="connsiteX241" fmla="*/ 1357427 w 5239290"/>
                <a:gd name="connsiteY241" fmla="*/ 2193942 h 5222131"/>
                <a:gd name="connsiteX242" fmla="*/ 1210970 w 5239290"/>
                <a:gd name="connsiteY242" fmla="*/ 2192179 h 5222131"/>
                <a:gd name="connsiteX243" fmla="*/ 1108403 w 5239290"/>
                <a:gd name="connsiteY243" fmla="*/ 2087124 h 5222131"/>
                <a:gd name="connsiteX244" fmla="*/ 1110167 w 5239290"/>
                <a:gd name="connsiteY244" fmla="*/ 1940471 h 5222131"/>
                <a:gd name="connsiteX245" fmla="*/ 1215222 w 5239290"/>
                <a:gd name="connsiteY245" fmla="*/ 1837904 h 5222131"/>
                <a:gd name="connsiteX246" fmla="*/ 1215261 w 5239290"/>
                <a:gd name="connsiteY246" fmla="*/ 1837983 h 5222131"/>
                <a:gd name="connsiteX247" fmla="*/ 1330760 w 5239290"/>
                <a:gd name="connsiteY247" fmla="*/ 1912999 h 5222131"/>
                <a:gd name="connsiteX248" fmla="*/ 1245720 w 5239290"/>
                <a:gd name="connsiteY248" fmla="*/ 1911500 h 5222131"/>
                <a:gd name="connsiteX249" fmla="*/ 1244956 w 5239290"/>
                <a:gd name="connsiteY249" fmla="*/ 1911883 h 5222131"/>
                <a:gd name="connsiteX250" fmla="*/ 1183606 w 5239290"/>
                <a:gd name="connsiteY250" fmla="*/ 1971665 h 5222131"/>
                <a:gd name="connsiteX251" fmla="*/ 1182460 w 5239290"/>
                <a:gd name="connsiteY251" fmla="*/ 2057429 h 5222131"/>
                <a:gd name="connsiteX252" fmla="*/ 1242232 w 5239290"/>
                <a:gd name="connsiteY252" fmla="*/ 2118779 h 5222131"/>
                <a:gd name="connsiteX253" fmla="*/ 1327272 w 5239290"/>
                <a:gd name="connsiteY253" fmla="*/ 2120268 h 5222131"/>
                <a:gd name="connsiteX254" fmla="*/ 1328075 w 5239290"/>
                <a:gd name="connsiteY254" fmla="*/ 2119886 h 5222131"/>
                <a:gd name="connsiteX255" fmla="*/ 1389425 w 5239290"/>
                <a:gd name="connsiteY255" fmla="*/ 2060143 h 5222131"/>
                <a:gd name="connsiteX256" fmla="*/ 1390914 w 5239290"/>
                <a:gd name="connsiteY256" fmla="*/ 1975103 h 5222131"/>
                <a:gd name="connsiteX257" fmla="*/ 1390532 w 5239290"/>
                <a:gd name="connsiteY257" fmla="*/ 1974300 h 5222131"/>
                <a:gd name="connsiteX258" fmla="*/ 1330789 w 5239290"/>
                <a:gd name="connsiteY258" fmla="*/ 1912960 h 5222131"/>
                <a:gd name="connsiteX259" fmla="*/ 2555304 w 5239290"/>
                <a:gd name="connsiteY259" fmla="*/ 4648460 h 5222131"/>
                <a:gd name="connsiteX260" fmla="*/ 2575202 w 5239290"/>
                <a:gd name="connsiteY260" fmla="*/ 4665448 h 5222131"/>
                <a:gd name="connsiteX261" fmla="*/ 2658704 w 5239290"/>
                <a:gd name="connsiteY261" fmla="*/ 4854464 h 5222131"/>
                <a:gd name="connsiteX262" fmla="*/ 2658704 w 5239290"/>
                <a:gd name="connsiteY262" fmla="*/ 4956149 h 5222131"/>
                <a:gd name="connsiteX263" fmla="*/ 2575202 w 5239290"/>
                <a:gd name="connsiteY263" fmla="*/ 5145126 h 5222131"/>
                <a:gd name="connsiteX264" fmla="*/ 2379260 w 5239290"/>
                <a:gd name="connsiteY264" fmla="*/ 5222092 h 5222131"/>
                <a:gd name="connsiteX265" fmla="*/ 526424 w 5239290"/>
                <a:gd name="connsiteY265" fmla="*/ 5222092 h 5222131"/>
                <a:gd name="connsiteX266" fmla="*/ 330402 w 5239290"/>
                <a:gd name="connsiteY266" fmla="*/ 5145165 h 5222131"/>
                <a:gd name="connsiteX267" fmla="*/ 246931 w 5239290"/>
                <a:gd name="connsiteY267" fmla="*/ 4956188 h 5222131"/>
                <a:gd name="connsiteX268" fmla="*/ 246931 w 5239290"/>
                <a:gd name="connsiteY268" fmla="*/ 4854503 h 5222131"/>
                <a:gd name="connsiteX269" fmla="*/ 330402 w 5239290"/>
                <a:gd name="connsiteY269" fmla="*/ 4665487 h 5222131"/>
                <a:gd name="connsiteX270" fmla="*/ 350301 w 5239290"/>
                <a:gd name="connsiteY270" fmla="*/ 4648499 h 5222131"/>
                <a:gd name="connsiteX271" fmla="*/ 330442 w 5239290"/>
                <a:gd name="connsiteY271" fmla="*/ 4631501 h 5222131"/>
                <a:gd name="connsiteX272" fmla="*/ 246970 w 5239290"/>
                <a:gd name="connsiteY272" fmla="*/ 4442485 h 5222131"/>
                <a:gd name="connsiteX273" fmla="*/ 246970 w 5239290"/>
                <a:gd name="connsiteY273" fmla="*/ 4340839 h 5222131"/>
                <a:gd name="connsiteX274" fmla="*/ 330442 w 5239290"/>
                <a:gd name="connsiteY274" fmla="*/ 4151823 h 5222131"/>
                <a:gd name="connsiteX275" fmla="*/ 350301 w 5239290"/>
                <a:gd name="connsiteY275" fmla="*/ 4134874 h 5222131"/>
                <a:gd name="connsiteX276" fmla="*/ 330442 w 5239290"/>
                <a:gd name="connsiteY276" fmla="*/ 4117876 h 5222131"/>
                <a:gd name="connsiteX277" fmla="*/ 246970 w 5239290"/>
                <a:gd name="connsiteY277" fmla="*/ 3928860 h 5222131"/>
                <a:gd name="connsiteX278" fmla="*/ 246970 w 5239290"/>
                <a:gd name="connsiteY278" fmla="*/ 3827214 h 5222131"/>
                <a:gd name="connsiteX279" fmla="*/ 330442 w 5239290"/>
                <a:gd name="connsiteY279" fmla="*/ 3638159 h 5222131"/>
                <a:gd name="connsiteX280" fmla="*/ 526463 w 5239290"/>
                <a:gd name="connsiteY280" fmla="*/ 3561280 h 5222131"/>
                <a:gd name="connsiteX281" fmla="*/ 2379299 w 5239290"/>
                <a:gd name="connsiteY281" fmla="*/ 3561280 h 5222131"/>
                <a:gd name="connsiteX282" fmla="*/ 2575320 w 5239290"/>
                <a:gd name="connsiteY282" fmla="*/ 3638159 h 5222131"/>
                <a:gd name="connsiteX283" fmla="*/ 2658782 w 5239290"/>
                <a:gd name="connsiteY283" fmla="*/ 3827214 h 5222131"/>
                <a:gd name="connsiteX284" fmla="*/ 2658782 w 5239290"/>
                <a:gd name="connsiteY284" fmla="*/ 3928860 h 5222131"/>
                <a:gd name="connsiteX285" fmla="*/ 2575359 w 5239290"/>
                <a:gd name="connsiteY285" fmla="*/ 4117876 h 5222131"/>
                <a:gd name="connsiteX286" fmla="*/ 2555451 w 5239290"/>
                <a:gd name="connsiteY286" fmla="*/ 4134874 h 5222131"/>
                <a:gd name="connsiteX287" fmla="*/ 2575320 w 5239290"/>
                <a:gd name="connsiteY287" fmla="*/ 4151823 h 5222131"/>
                <a:gd name="connsiteX288" fmla="*/ 2658782 w 5239290"/>
                <a:gd name="connsiteY288" fmla="*/ 4340839 h 5222131"/>
                <a:gd name="connsiteX289" fmla="*/ 2658782 w 5239290"/>
                <a:gd name="connsiteY289" fmla="*/ 4442485 h 5222131"/>
                <a:gd name="connsiteX290" fmla="*/ 2575320 w 5239290"/>
                <a:gd name="connsiteY290" fmla="*/ 4631501 h 5222131"/>
                <a:gd name="connsiteX291" fmla="*/ 2555412 w 5239290"/>
                <a:gd name="connsiteY291" fmla="*/ 4648499 h 5222131"/>
                <a:gd name="connsiteX292" fmla="*/ 2493269 w 5239290"/>
                <a:gd name="connsiteY292" fmla="*/ 4752555 h 5222131"/>
                <a:gd name="connsiteX293" fmla="*/ 2379211 w 5239290"/>
                <a:gd name="connsiteY293" fmla="*/ 4708389 h 5222131"/>
                <a:gd name="connsiteX294" fmla="*/ 526385 w 5239290"/>
                <a:gd name="connsiteY294" fmla="*/ 4708389 h 5222131"/>
                <a:gd name="connsiteX295" fmla="*/ 412297 w 5239290"/>
                <a:gd name="connsiteY295" fmla="*/ 4752515 h 5222131"/>
                <a:gd name="connsiteX296" fmla="*/ 366789 w 5239290"/>
                <a:gd name="connsiteY296" fmla="*/ 4854425 h 5222131"/>
                <a:gd name="connsiteX297" fmla="*/ 366789 w 5239290"/>
                <a:gd name="connsiteY297" fmla="*/ 4956110 h 5222131"/>
                <a:gd name="connsiteX298" fmla="*/ 412326 w 5239290"/>
                <a:gd name="connsiteY298" fmla="*/ 5057980 h 5222131"/>
                <a:gd name="connsiteX299" fmla="*/ 526375 w 5239290"/>
                <a:gd name="connsiteY299" fmla="*/ 5102146 h 5222131"/>
                <a:gd name="connsiteX300" fmla="*/ 2379211 w 5239290"/>
                <a:gd name="connsiteY300" fmla="*/ 5102146 h 5222131"/>
                <a:gd name="connsiteX301" fmla="*/ 2493220 w 5239290"/>
                <a:gd name="connsiteY301" fmla="*/ 5057941 h 5222131"/>
                <a:gd name="connsiteX302" fmla="*/ 2538806 w 5239290"/>
                <a:gd name="connsiteY302" fmla="*/ 4956071 h 5222131"/>
                <a:gd name="connsiteX303" fmla="*/ 2538806 w 5239290"/>
                <a:gd name="connsiteY303" fmla="*/ 4854386 h 5222131"/>
                <a:gd name="connsiteX304" fmla="*/ 2493220 w 5239290"/>
                <a:gd name="connsiteY304" fmla="*/ 4752476 h 5222131"/>
                <a:gd name="connsiteX305" fmla="*/ 2493269 w 5239290"/>
                <a:gd name="connsiteY305" fmla="*/ 4238890 h 5222131"/>
                <a:gd name="connsiteX306" fmla="*/ 2379211 w 5239290"/>
                <a:gd name="connsiteY306" fmla="*/ 4194764 h 5222131"/>
                <a:gd name="connsiteX307" fmla="*/ 526385 w 5239290"/>
                <a:gd name="connsiteY307" fmla="*/ 4194764 h 5222131"/>
                <a:gd name="connsiteX308" fmla="*/ 412297 w 5239290"/>
                <a:gd name="connsiteY308" fmla="*/ 4238890 h 5222131"/>
                <a:gd name="connsiteX309" fmla="*/ 366789 w 5239290"/>
                <a:gd name="connsiteY309" fmla="*/ 4340800 h 5222131"/>
                <a:gd name="connsiteX310" fmla="*/ 366789 w 5239290"/>
                <a:gd name="connsiteY310" fmla="*/ 4442445 h 5222131"/>
                <a:gd name="connsiteX311" fmla="*/ 412297 w 5239290"/>
                <a:gd name="connsiteY311" fmla="*/ 4544355 h 5222131"/>
                <a:gd name="connsiteX312" fmla="*/ 526385 w 5239290"/>
                <a:gd name="connsiteY312" fmla="*/ 4588521 h 5222131"/>
                <a:gd name="connsiteX313" fmla="*/ 2379211 w 5239290"/>
                <a:gd name="connsiteY313" fmla="*/ 4588521 h 5222131"/>
                <a:gd name="connsiteX314" fmla="*/ 2493269 w 5239290"/>
                <a:gd name="connsiteY314" fmla="*/ 4544355 h 5222131"/>
                <a:gd name="connsiteX315" fmla="*/ 2538845 w 5239290"/>
                <a:gd name="connsiteY315" fmla="*/ 4442445 h 5222131"/>
                <a:gd name="connsiteX316" fmla="*/ 2538845 w 5239290"/>
                <a:gd name="connsiteY316" fmla="*/ 4340800 h 5222131"/>
                <a:gd name="connsiteX317" fmla="*/ 2493269 w 5239290"/>
                <a:gd name="connsiteY317" fmla="*/ 4238890 h 5222131"/>
                <a:gd name="connsiteX318" fmla="*/ 2379211 w 5239290"/>
                <a:gd name="connsiteY318" fmla="*/ 3681139 h 5222131"/>
                <a:gd name="connsiteX319" fmla="*/ 526385 w 5239290"/>
                <a:gd name="connsiteY319" fmla="*/ 3681139 h 5222131"/>
                <a:gd name="connsiteX320" fmla="*/ 412297 w 5239290"/>
                <a:gd name="connsiteY320" fmla="*/ 3725265 h 5222131"/>
                <a:gd name="connsiteX321" fmla="*/ 366789 w 5239290"/>
                <a:gd name="connsiteY321" fmla="*/ 3827214 h 5222131"/>
                <a:gd name="connsiteX322" fmla="*/ 366789 w 5239290"/>
                <a:gd name="connsiteY322" fmla="*/ 3928860 h 5222131"/>
                <a:gd name="connsiteX323" fmla="*/ 412297 w 5239290"/>
                <a:gd name="connsiteY323" fmla="*/ 4030770 h 5222131"/>
                <a:gd name="connsiteX324" fmla="*/ 526385 w 5239290"/>
                <a:gd name="connsiteY324" fmla="*/ 4074886 h 5222131"/>
                <a:gd name="connsiteX325" fmla="*/ 2379211 w 5239290"/>
                <a:gd name="connsiteY325" fmla="*/ 4074886 h 5222131"/>
                <a:gd name="connsiteX326" fmla="*/ 2493308 w 5239290"/>
                <a:gd name="connsiteY326" fmla="*/ 4030770 h 5222131"/>
                <a:gd name="connsiteX327" fmla="*/ 2538806 w 5239290"/>
                <a:gd name="connsiteY327" fmla="*/ 3928860 h 5222131"/>
                <a:gd name="connsiteX328" fmla="*/ 2538806 w 5239290"/>
                <a:gd name="connsiteY328" fmla="*/ 3827214 h 5222131"/>
                <a:gd name="connsiteX329" fmla="*/ 2493308 w 5239290"/>
                <a:gd name="connsiteY329" fmla="*/ 3725265 h 5222131"/>
                <a:gd name="connsiteX330" fmla="*/ 2379211 w 5239290"/>
                <a:gd name="connsiteY330" fmla="*/ 3681139 h 5222131"/>
                <a:gd name="connsiteX331" fmla="*/ 4959788 w 5239290"/>
                <a:gd name="connsiteY331" fmla="*/ 3167475 h 5222131"/>
                <a:gd name="connsiteX332" fmla="*/ 3106942 w 5239290"/>
                <a:gd name="connsiteY332" fmla="*/ 3167475 h 5222131"/>
                <a:gd name="connsiteX333" fmla="*/ 2992855 w 5239290"/>
                <a:gd name="connsiteY333" fmla="*/ 3211601 h 5222131"/>
                <a:gd name="connsiteX334" fmla="*/ 2947357 w 5239290"/>
                <a:gd name="connsiteY334" fmla="*/ 3313511 h 5222131"/>
                <a:gd name="connsiteX335" fmla="*/ 2947357 w 5239290"/>
                <a:gd name="connsiteY335" fmla="*/ 3415156 h 5222131"/>
                <a:gd name="connsiteX336" fmla="*/ 2992855 w 5239290"/>
                <a:gd name="connsiteY336" fmla="*/ 3517105 h 5222131"/>
                <a:gd name="connsiteX337" fmla="*/ 3106942 w 5239290"/>
                <a:gd name="connsiteY337" fmla="*/ 3561192 h 5222131"/>
                <a:gd name="connsiteX338" fmla="*/ 4959788 w 5239290"/>
                <a:gd name="connsiteY338" fmla="*/ 3561192 h 5222131"/>
                <a:gd name="connsiteX339" fmla="*/ 5073876 w 5239290"/>
                <a:gd name="connsiteY339" fmla="*/ 3517105 h 5222131"/>
                <a:gd name="connsiteX340" fmla="*/ 5119374 w 5239290"/>
                <a:gd name="connsiteY340" fmla="*/ 3415156 h 5222131"/>
                <a:gd name="connsiteX341" fmla="*/ 5119374 w 5239290"/>
                <a:gd name="connsiteY341" fmla="*/ 3313511 h 5222131"/>
                <a:gd name="connsiteX342" fmla="*/ 5073876 w 5239290"/>
                <a:gd name="connsiteY342" fmla="*/ 3211601 h 5222131"/>
                <a:gd name="connsiteX343" fmla="*/ 4959788 w 5239290"/>
                <a:gd name="connsiteY343" fmla="*/ 3167475 h 5222131"/>
                <a:gd name="connsiteX344" fmla="*/ 4959788 w 5239290"/>
                <a:gd name="connsiteY344" fmla="*/ 3681139 h 5222131"/>
                <a:gd name="connsiteX345" fmla="*/ 3106942 w 5239290"/>
                <a:gd name="connsiteY345" fmla="*/ 3681139 h 5222131"/>
                <a:gd name="connsiteX346" fmla="*/ 2992855 w 5239290"/>
                <a:gd name="connsiteY346" fmla="*/ 3725265 h 5222131"/>
                <a:gd name="connsiteX347" fmla="*/ 2947357 w 5239290"/>
                <a:gd name="connsiteY347" fmla="*/ 3827214 h 5222131"/>
                <a:gd name="connsiteX348" fmla="*/ 2947357 w 5239290"/>
                <a:gd name="connsiteY348" fmla="*/ 3928860 h 5222131"/>
                <a:gd name="connsiteX349" fmla="*/ 2992894 w 5239290"/>
                <a:gd name="connsiteY349" fmla="*/ 4030770 h 5222131"/>
                <a:gd name="connsiteX350" fmla="*/ 3106942 w 5239290"/>
                <a:gd name="connsiteY350" fmla="*/ 4074925 h 5222131"/>
                <a:gd name="connsiteX351" fmla="*/ 4959778 w 5239290"/>
                <a:gd name="connsiteY351" fmla="*/ 4074925 h 5222131"/>
                <a:gd name="connsiteX352" fmla="*/ 5073827 w 5239290"/>
                <a:gd name="connsiteY352" fmla="*/ 4030770 h 5222131"/>
                <a:gd name="connsiteX353" fmla="*/ 5119413 w 5239290"/>
                <a:gd name="connsiteY353" fmla="*/ 3928860 h 5222131"/>
                <a:gd name="connsiteX354" fmla="*/ 5119413 w 5239290"/>
                <a:gd name="connsiteY354" fmla="*/ 3827214 h 5222131"/>
                <a:gd name="connsiteX355" fmla="*/ 5073866 w 5239290"/>
                <a:gd name="connsiteY355" fmla="*/ 3725265 h 5222131"/>
                <a:gd name="connsiteX356" fmla="*/ 4959817 w 5239290"/>
                <a:gd name="connsiteY356" fmla="*/ 3681100 h 5222131"/>
                <a:gd name="connsiteX357" fmla="*/ 5073836 w 5239290"/>
                <a:gd name="connsiteY357" fmla="*/ 4752555 h 5222131"/>
                <a:gd name="connsiteX358" fmla="*/ 4959788 w 5239290"/>
                <a:gd name="connsiteY358" fmla="*/ 4708389 h 5222131"/>
                <a:gd name="connsiteX359" fmla="*/ 3106942 w 5239290"/>
                <a:gd name="connsiteY359" fmla="*/ 4708389 h 5222131"/>
                <a:gd name="connsiteX360" fmla="*/ 2992855 w 5239290"/>
                <a:gd name="connsiteY360" fmla="*/ 4752515 h 5222131"/>
                <a:gd name="connsiteX361" fmla="*/ 2947357 w 5239290"/>
                <a:gd name="connsiteY361" fmla="*/ 4854464 h 5222131"/>
                <a:gd name="connsiteX362" fmla="*/ 2947357 w 5239290"/>
                <a:gd name="connsiteY362" fmla="*/ 4956071 h 5222131"/>
                <a:gd name="connsiteX363" fmla="*/ 2992894 w 5239290"/>
                <a:gd name="connsiteY363" fmla="*/ 5057980 h 5222131"/>
                <a:gd name="connsiteX364" fmla="*/ 3106942 w 5239290"/>
                <a:gd name="connsiteY364" fmla="*/ 5102146 h 5222131"/>
                <a:gd name="connsiteX365" fmla="*/ 4959778 w 5239290"/>
                <a:gd name="connsiteY365" fmla="*/ 5102146 h 5222131"/>
                <a:gd name="connsiteX366" fmla="*/ 5073787 w 5239290"/>
                <a:gd name="connsiteY366" fmla="*/ 5057941 h 5222131"/>
                <a:gd name="connsiteX367" fmla="*/ 5119374 w 5239290"/>
                <a:gd name="connsiteY367" fmla="*/ 4956071 h 5222131"/>
                <a:gd name="connsiteX368" fmla="*/ 5119374 w 5239290"/>
                <a:gd name="connsiteY368" fmla="*/ 4854464 h 5222131"/>
                <a:gd name="connsiteX369" fmla="*/ 5073787 w 5239290"/>
                <a:gd name="connsiteY369" fmla="*/ 4752555 h 5222131"/>
                <a:gd name="connsiteX370" fmla="*/ 5073866 w 5239290"/>
                <a:gd name="connsiteY370" fmla="*/ 4238929 h 5222131"/>
                <a:gd name="connsiteX371" fmla="*/ 4959817 w 5239290"/>
                <a:gd name="connsiteY371" fmla="*/ 4194764 h 5222131"/>
                <a:gd name="connsiteX372" fmla="*/ 3106981 w 5239290"/>
                <a:gd name="connsiteY372" fmla="*/ 4194764 h 5222131"/>
                <a:gd name="connsiteX373" fmla="*/ 2992894 w 5239290"/>
                <a:gd name="connsiteY373" fmla="*/ 4238890 h 5222131"/>
                <a:gd name="connsiteX374" fmla="*/ 2947396 w 5239290"/>
                <a:gd name="connsiteY374" fmla="*/ 4340839 h 5222131"/>
                <a:gd name="connsiteX375" fmla="*/ 2947396 w 5239290"/>
                <a:gd name="connsiteY375" fmla="*/ 4442445 h 5222131"/>
                <a:gd name="connsiteX376" fmla="*/ 2992894 w 5239290"/>
                <a:gd name="connsiteY376" fmla="*/ 4544355 h 5222131"/>
                <a:gd name="connsiteX377" fmla="*/ 3106981 w 5239290"/>
                <a:gd name="connsiteY377" fmla="*/ 4588521 h 5222131"/>
                <a:gd name="connsiteX378" fmla="*/ 4959817 w 5239290"/>
                <a:gd name="connsiteY378" fmla="*/ 4588521 h 5222131"/>
                <a:gd name="connsiteX379" fmla="*/ 5073866 w 5239290"/>
                <a:gd name="connsiteY379" fmla="*/ 4544355 h 5222131"/>
                <a:gd name="connsiteX380" fmla="*/ 5119452 w 5239290"/>
                <a:gd name="connsiteY380" fmla="*/ 4442445 h 5222131"/>
                <a:gd name="connsiteX381" fmla="*/ 5119452 w 5239290"/>
                <a:gd name="connsiteY381" fmla="*/ 4340839 h 5222131"/>
                <a:gd name="connsiteX382" fmla="*/ 5073905 w 5239290"/>
                <a:gd name="connsiteY382" fmla="*/ 4238929 h 522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</a:cxnLst>
              <a:rect l="l" t="t" r="r" b="b"/>
              <a:pathLst>
                <a:path w="5239290" h="5222131">
                  <a:moveTo>
                    <a:pt x="3106962" y="3047577"/>
                  </a:moveTo>
                  <a:lnTo>
                    <a:pt x="4959797" y="3047577"/>
                  </a:lnTo>
                  <a:cubicBezTo>
                    <a:pt x="5035843" y="3047577"/>
                    <a:pt x="5105266" y="3077008"/>
                    <a:pt x="5155819" y="3124465"/>
                  </a:cubicBezTo>
                  <a:cubicBezTo>
                    <a:pt x="5207333" y="3172794"/>
                    <a:pt x="5239290" y="3239699"/>
                    <a:pt x="5239290" y="3313520"/>
                  </a:cubicBezTo>
                  <a:lnTo>
                    <a:pt x="5239290" y="3415166"/>
                  </a:lnTo>
                  <a:cubicBezTo>
                    <a:pt x="5239290" y="3488987"/>
                    <a:pt x="5207293" y="3555882"/>
                    <a:pt x="5155819" y="3604222"/>
                  </a:cubicBezTo>
                  <a:cubicBezTo>
                    <a:pt x="5149471" y="3610149"/>
                    <a:pt x="5142847" y="3615851"/>
                    <a:pt x="5135921" y="3621210"/>
                  </a:cubicBezTo>
                  <a:cubicBezTo>
                    <a:pt x="5142847" y="3626569"/>
                    <a:pt x="5149471" y="3632231"/>
                    <a:pt x="5155819" y="3638198"/>
                  </a:cubicBezTo>
                  <a:cubicBezTo>
                    <a:pt x="5207333" y="3686537"/>
                    <a:pt x="5239290" y="3753481"/>
                    <a:pt x="5239290" y="3827253"/>
                  </a:cubicBezTo>
                  <a:lnTo>
                    <a:pt x="5239290" y="3928899"/>
                  </a:lnTo>
                  <a:cubicBezTo>
                    <a:pt x="5239290" y="4002691"/>
                    <a:pt x="5207293" y="4069576"/>
                    <a:pt x="5155780" y="4117915"/>
                  </a:cubicBezTo>
                  <a:cubicBezTo>
                    <a:pt x="5149431" y="4123852"/>
                    <a:pt x="5142809" y="4129554"/>
                    <a:pt x="5135882" y="4134913"/>
                  </a:cubicBezTo>
                  <a:cubicBezTo>
                    <a:pt x="5142809" y="4140272"/>
                    <a:pt x="5149431" y="4145935"/>
                    <a:pt x="5155780" y="4151901"/>
                  </a:cubicBezTo>
                  <a:cubicBezTo>
                    <a:pt x="5207293" y="4200241"/>
                    <a:pt x="5239252" y="4267175"/>
                    <a:pt x="5239252" y="4340957"/>
                  </a:cubicBezTo>
                  <a:lnTo>
                    <a:pt x="5239252" y="4442563"/>
                  </a:lnTo>
                  <a:cubicBezTo>
                    <a:pt x="5239252" y="4516345"/>
                    <a:pt x="5207254" y="4583240"/>
                    <a:pt x="5155740" y="4631579"/>
                  </a:cubicBezTo>
                  <a:cubicBezTo>
                    <a:pt x="5149392" y="4637556"/>
                    <a:pt x="5142730" y="4643218"/>
                    <a:pt x="5135842" y="4648577"/>
                  </a:cubicBezTo>
                  <a:cubicBezTo>
                    <a:pt x="5142730" y="4653966"/>
                    <a:pt x="5149392" y="4659599"/>
                    <a:pt x="5155740" y="4665566"/>
                  </a:cubicBezTo>
                  <a:cubicBezTo>
                    <a:pt x="5207254" y="4713905"/>
                    <a:pt x="5239252" y="4780839"/>
                    <a:pt x="5239252" y="4854582"/>
                  </a:cubicBezTo>
                  <a:lnTo>
                    <a:pt x="5239252" y="4956188"/>
                  </a:lnTo>
                  <a:cubicBezTo>
                    <a:pt x="5239252" y="5029931"/>
                    <a:pt x="5207215" y="5096826"/>
                    <a:pt x="5155701" y="5145165"/>
                  </a:cubicBezTo>
                  <a:cubicBezTo>
                    <a:pt x="5105109" y="5192622"/>
                    <a:pt x="5035725" y="5222132"/>
                    <a:pt x="4959759" y="5222132"/>
                  </a:cubicBezTo>
                  <a:lnTo>
                    <a:pt x="3106923" y="5222132"/>
                  </a:lnTo>
                  <a:cubicBezTo>
                    <a:pt x="3030956" y="5222132"/>
                    <a:pt x="2961494" y="5192662"/>
                    <a:pt x="2910901" y="5145204"/>
                  </a:cubicBezTo>
                  <a:cubicBezTo>
                    <a:pt x="2859427" y="5096905"/>
                    <a:pt x="2827440" y="5030010"/>
                    <a:pt x="2827440" y="4956188"/>
                  </a:cubicBezTo>
                  <a:lnTo>
                    <a:pt x="2827440" y="4854582"/>
                  </a:lnTo>
                  <a:cubicBezTo>
                    <a:pt x="2827440" y="4780761"/>
                    <a:pt x="2859427" y="4713826"/>
                    <a:pt x="2910901" y="4665526"/>
                  </a:cubicBezTo>
                  <a:cubicBezTo>
                    <a:pt x="2917260" y="4659560"/>
                    <a:pt x="2923883" y="4653887"/>
                    <a:pt x="2930809" y="4648538"/>
                  </a:cubicBezTo>
                  <a:cubicBezTo>
                    <a:pt x="2923912" y="4643179"/>
                    <a:pt x="2917260" y="4637516"/>
                    <a:pt x="2910941" y="4631540"/>
                  </a:cubicBezTo>
                  <a:cubicBezTo>
                    <a:pt x="2859466" y="4583240"/>
                    <a:pt x="2827479" y="4516345"/>
                    <a:pt x="2827479" y="4442524"/>
                  </a:cubicBezTo>
                  <a:lnTo>
                    <a:pt x="2827479" y="4340918"/>
                  </a:lnTo>
                  <a:cubicBezTo>
                    <a:pt x="2827479" y="4267096"/>
                    <a:pt x="2859466" y="4200162"/>
                    <a:pt x="2910941" y="4151862"/>
                  </a:cubicBezTo>
                  <a:cubicBezTo>
                    <a:pt x="2917299" y="4145895"/>
                    <a:pt x="2923912" y="4140233"/>
                    <a:pt x="2930839" y="4134874"/>
                  </a:cubicBezTo>
                  <a:cubicBezTo>
                    <a:pt x="2923951" y="4129515"/>
                    <a:pt x="2917338" y="4123852"/>
                    <a:pt x="2910980" y="4117876"/>
                  </a:cubicBezTo>
                  <a:cubicBezTo>
                    <a:pt x="2859506" y="4069586"/>
                    <a:pt x="2827518" y="4002642"/>
                    <a:pt x="2827518" y="3928860"/>
                  </a:cubicBezTo>
                  <a:lnTo>
                    <a:pt x="2827518" y="3827214"/>
                  </a:lnTo>
                  <a:cubicBezTo>
                    <a:pt x="2827518" y="3753393"/>
                    <a:pt x="2859506" y="3686459"/>
                    <a:pt x="2910980" y="3638159"/>
                  </a:cubicBezTo>
                  <a:cubicBezTo>
                    <a:pt x="2917338" y="3632231"/>
                    <a:pt x="2923951" y="3626529"/>
                    <a:pt x="2930878" y="3621170"/>
                  </a:cubicBezTo>
                  <a:cubicBezTo>
                    <a:pt x="2923990" y="3615811"/>
                    <a:pt x="2917338" y="3610149"/>
                    <a:pt x="2911019" y="3604212"/>
                  </a:cubicBezTo>
                  <a:cubicBezTo>
                    <a:pt x="2859506" y="3555882"/>
                    <a:pt x="2827557" y="3488987"/>
                    <a:pt x="2827557" y="3415156"/>
                  </a:cubicBezTo>
                  <a:lnTo>
                    <a:pt x="2827557" y="3313511"/>
                  </a:lnTo>
                  <a:cubicBezTo>
                    <a:pt x="2827557" y="3239689"/>
                    <a:pt x="2859545" y="3172794"/>
                    <a:pt x="2911019" y="3124465"/>
                  </a:cubicBezTo>
                  <a:cubicBezTo>
                    <a:pt x="2961612" y="3077008"/>
                    <a:pt x="3030995" y="3047577"/>
                    <a:pt x="3107040" y="3047577"/>
                  </a:cubicBezTo>
                  <a:close/>
                  <a:moveTo>
                    <a:pt x="4032674" y="538431"/>
                  </a:moveTo>
                  <a:cubicBezTo>
                    <a:pt x="4362329" y="538431"/>
                    <a:pt x="4660838" y="672074"/>
                    <a:pt x="4876914" y="888140"/>
                  </a:cubicBezTo>
                  <a:cubicBezTo>
                    <a:pt x="5092990" y="1104216"/>
                    <a:pt x="5226623" y="1402715"/>
                    <a:pt x="5226623" y="1732379"/>
                  </a:cubicBezTo>
                  <a:cubicBezTo>
                    <a:pt x="5226623" y="2062033"/>
                    <a:pt x="5092980" y="2360543"/>
                    <a:pt x="4876914" y="2576619"/>
                  </a:cubicBezTo>
                  <a:cubicBezTo>
                    <a:pt x="4660877" y="2792656"/>
                    <a:pt x="4362368" y="2926328"/>
                    <a:pt x="4032674" y="2926328"/>
                  </a:cubicBezTo>
                  <a:cubicBezTo>
                    <a:pt x="3703020" y="2926328"/>
                    <a:pt x="3404511" y="2792646"/>
                    <a:pt x="3188435" y="2576619"/>
                  </a:cubicBezTo>
                  <a:cubicBezTo>
                    <a:pt x="3146758" y="2534942"/>
                    <a:pt x="3108187" y="2490208"/>
                    <a:pt x="3073015" y="2442790"/>
                  </a:cubicBezTo>
                  <a:lnTo>
                    <a:pt x="898441" y="3312325"/>
                  </a:lnTo>
                  <a:lnTo>
                    <a:pt x="898216" y="3312325"/>
                  </a:lnTo>
                  <a:cubicBezTo>
                    <a:pt x="875976" y="3321162"/>
                    <a:pt x="853012" y="3325258"/>
                    <a:pt x="830547" y="3325032"/>
                  </a:cubicBezTo>
                  <a:cubicBezTo>
                    <a:pt x="806749" y="3324768"/>
                    <a:pt x="783667" y="3319898"/>
                    <a:pt x="762701" y="3310915"/>
                  </a:cubicBezTo>
                  <a:lnTo>
                    <a:pt x="762124" y="3310640"/>
                  </a:lnTo>
                  <a:cubicBezTo>
                    <a:pt x="740922" y="3301568"/>
                    <a:pt x="721367" y="3288254"/>
                    <a:pt x="704908" y="3271305"/>
                  </a:cubicBezTo>
                  <a:cubicBezTo>
                    <a:pt x="689252" y="3255188"/>
                    <a:pt x="676359" y="3235712"/>
                    <a:pt x="667326" y="3213247"/>
                  </a:cubicBezTo>
                  <a:lnTo>
                    <a:pt x="667248" y="3213286"/>
                  </a:lnTo>
                  <a:lnTo>
                    <a:pt x="12568" y="1575204"/>
                  </a:lnTo>
                  <a:lnTo>
                    <a:pt x="12568" y="1574969"/>
                  </a:lnTo>
                  <a:cubicBezTo>
                    <a:pt x="3689" y="1552778"/>
                    <a:pt x="-290" y="1529814"/>
                    <a:pt x="16" y="1507231"/>
                  </a:cubicBezTo>
                  <a:cubicBezTo>
                    <a:pt x="246" y="1492771"/>
                    <a:pt x="2197" y="1478565"/>
                    <a:pt x="5680" y="1464868"/>
                  </a:cubicBezTo>
                  <a:lnTo>
                    <a:pt x="4417" y="1461772"/>
                  </a:lnTo>
                  <a:lnTo>
                    <a:pt x="14214" y="1438886"/>
                  </a:lnTo>
                  <a:cubicBezTo>
                    <a:pt x="23284" y="1417646"/>
                    <a:pt x="36603" y="1398120"/>
                    <a:pt x="53518" y="1381710"/>
                  </a:cubicBezTo>
                  <a:cubicBezTo>
                    <a:pt x="69821" y="1365898"/>
                    <a:pt x="89338" y="1352926"/>
                    <a:pt x="111574" y="1344050"/>
                  </a:cubicBezTo>
                  <a:lnTo>
                    <a:pt x="3442602" y="12715"/>
                  </a:lnTo>
                  <a:cubicBezTo>
                    <a:pt x="3464832" y="3837"/>
                    <a:pt x="3487875" y="-220"/>
                    <a:pt x="3510536" y="9"/>
                  </a:cubicBezTo>
                  <a:cubicBezTo>
                    <a:pt x="3534529" y="278"/>
                    <a:pt x="3557640" y="5176"/>
                    <a:pt x="3578538" y="14169"/>
                  </a:cubicBezTo>
                  <a:lnTo>
                    <a:pt x="3601424" y="23966"/>
                  </a:lnTo>
                  <a:lnTo>
                    <a:pt x="3602648" y="27142"/>
                  </a:lnTo>
                  <a:cubicBezTo>
                    <a:pt x="3614660" y="34606"/>
                    <a:pt x="3625838" y="43522"/>
                    <a:pt x="3635831" y="53701"/>
                  </a:cubicBezTo>
                  <a:cubicBezTo>
                    <a:pt x="3651360" y="69584"/>
                    <a:pt x="3664184" y="88680"/>
                    <a:pt x="3673178" y="110609"/>
                  </a:cubicBezTo>
                  <a:lnTo>
                    <a:pt x="3673256" y="110571"/>
                  </a:lnTo>
                  <a:lnTo>
                    <a:pt x="3861695" y="550600"/>
                  </a:lnTo>
                  <a:cubicBezTo>
                    <a:pt x="3917528" y="542601"/>
                    <a:pt x="3974587" y="538430"/>
                    <a:pt x="4032606" y="538430"/>
                  </a:cubicBezTo>
                  <a:close/>
                  <a:moveTo>
                    <a:pt x="3005346" y="2341105"/>
                  </a:moveTo>
                  <a:cubicBezTo>
                    <a:pt x="2983038" y="2303484"/>
                    <a:pt x="2962709" y="2264560"/>
                    <a:pt x="2944535" y="2224421"/>
                  </a:cubicBezTo>
                  <a:lnTo>
                    <a:pt x="1080335" y="2969582"/>
                  </a:lnTo>
                  <a:lnTo>
                    <a:pt x="1064718" y="2934450"/>
                  </a:lnTo>
                  <a:lnTo>
                    <a:pt x="1064071" y="2933147"/>
                  </a:lnTo>
                  <a:cubicBezTo>
                    <a:pt x="1048494" y="2894193"/>
                    <a:pt x="1019445" y="2865027"/>
                    <a:pt x="985077" y="2849342"/>
                  </a:cubicBezTo>
                  <a:cubicBezTo>
                    <a:pt x="951326" y="2833950"/>
                    <a:pt x="912323" y="2831658"/>
                    <a:pt x="876201" y="2846089"/>
                  </a:cubicBezTo>
                  <a:lnTo>
                    <a:pt x="838933" y="2860050"/>
                  </a:lnTo>
                  <a:lnTo>
                    <a:pt x="380035" y="1711923"/>
                  </a:lnTo>
                  <a:lnTo>
                    <a:pt x="417117" y="1697080"/>
                  </a:lnTo>
                  <a:cubicBezTo>
                    <a:pt x="453131" y="1682688"/>
                    <a:pt x="479721" y="1654179"/>
                    <a:pt x="493574" y="1619732"/>
                  </a:cubicBezTo>
                  <a:cubicBezTo>
                    <a:pt x="507741" y="1584599"/>
                    <a:pt x="508691" y="1543422"/>
                    <a:pt x="493123" y="1504458"/>
                  </a:cubicBezTo>
                  <a:lnTo>
                    <a:pt x="478388" y="1467572"/>
                  </a:lnTo>
                  <a:cubicBezTo>
                    <a:pt x="1408118" y="1095888"/>
                    <a:pt x="2337886" y="724289"/>
                    <a:pt x="3267635" y="352752"/>
                  </a:cubicBezTo>
                  <a:lnTo>
                    <a:pt x="3278079" y="394581"/>
                  </a:lnTo>
                  <a:cubicBezTo>
                    <a:pt x="3293882" y="432200"/>
                    <a:pt x="3322401" y="460406"/>
                    <a:pt x="3355956" y="475713"/>
                  </a:cubicBezTo>
                  <a:cubicBezTo>
                    <a:pt x="3389678" y="491098"/>
                    <a:pt x="3428592" y="493394"/>
                    <a:pt x="3464724" y="478966"/>
                  </a:cubicBezTo>
                  <a:lnTo>
                    <a:pt x="3502267" y="466452"/>
                  </a:lnTo>
                  <a:lnTo>
                    <a:pt x="3570161" y="631397"/>
                  </a:lnTo>
                  <a:cubicBezTo>
                    <a:pt x="3625387" y="608205"/>
                    <a:pt x="3682711" y="588994"/>
                    <a:pt x="3741729" y="574222"/>
                  </a:cubicBezTo>
                  <a:lnTo>
                    <a:pt x="3563234" y="157461"/>
                  </a:lnTo>
                  <a:lnTo>
                    <a:pt x="3562774" y="156084"/>
                  </a:lnTo>
                  <a:cubicBezTo>
                    <a:pt x="3559982" y="149080"/>
                    <a:pt x="3555808" y="142842"/>
                    <a:pt x="3550645" y="137599"/>
                  </a:cubicBezTo>
                  <a:cubicBezTo>
                    <a:pt x="3545208" y="132050"/>
                    <a:pt x="3538742" y="127649"/>
                    <a:pt x="3531658" y="124626"/>
                  </a:cubicBezTo>
                  <a:lnTo>
                    <a:pt x="3526270" y="122329"/>
                  </a:lnTo>
                  <a:cubicBezTo>
                    <a:pt x="3520754" y="120492"/>
                    <a:pt x="3515091" y="119497"/>
                    <a:pt x="3509576" y="119421"/>
                  </a:cubicBezTo>
                  <a:cubicBezTo>
                    <a:pt x="3502198" y="119344"/>
                    <a:pt x="3494537" y="120722"/>
                    <a:pt x="3487081" y="123745"/>
                  </a:cubicBezTo>
                  <a:lnTo>
                    <a:pt x="156049" y="1455081"/>
                  </a:lnTo>
                  <a:cubicBezTo>
                    <a:pt x="148585" y="1458069"/>
                    <a:pt x="142118" y="1462311"/>
                    <a:pt x="136837" y="1467445"/>
                  </a:cubicBezTo>
                  <a:cubicBezTo>
                    <a:pt x="132819" y="1471344"/>
                    <a:pt x="129413" y="1475782"/>
                    <a:pt x="126735" y="1480602"/>
                  </a:cubicBezTo>
                  <a:lnTo>
                    <a:pt x="124362" y="1486157"/>
                  </a:lnTo>
                  <a:cubicBezTo>
                    <a:pt x="121224" y="1493505"/>
                    <a:pt x="119501" y="1501196"/>
                    <a:pt x="119387" y="1508701"/>
                  </a:cubicBezTo>
                  <a:cubicBezTo>
                    <a:pt x="119271" y="1516117"/>
                    <a:pt x="120573" y="1523622"/>
                    <a:pt x="123405" y="1530813"/>
                  </a:cubicBezTo>
                  <a:lnTo>
                    <a:pt x="123481" y="1530774"/>
                  </a:lnTo>
                  <a:lnTo>
                    <a:pt x="778201" y="3168856"/>
                  </a:lnTo>
                  <a:lnTo>
                    <a:pt x="778201" y="3169091"/>
                  </a:lnTo>
                  <a:cubicBezTo>
                    <a:pt x="781071" y="3176282"/>
                    <a:pt x="785323" y="3182641"/>
                    <a:pt x="790565" y="3188029"/>
                  </a:cubicBezTo>
                  <a:cubicBezTo>
                    <a:pt x="795845" y="3193466"/>
                    <a:pt x="802125" y="3197758"/>
                    <a:pt x="808895" y="3200667"/>
                  </a:cubicBezTo>
                  <a:lnTo>
                    <a:pt x="809473" y="3200971"/>
                  </a:lnTo>
                  <a:cubicBezTo>
                    <a:pt x="816547" y="3203959"/>
                    <a:pt x="824012" y="3205634"/>
                    <a:pt x="831477" y="3205713"/>
                  </a:cubicBezTo>
                  <a:cubicBezTo>
                    <a:pt x="838904" y="3205791"/>
                    <a:pt x="846555" y="3204449"/>
                    <a:pt x="853942" y="3201500"/>
                  </a:cubicBezTo>
                  <a:lnTo>
                    <a:pt x="853903" y="3201432"/>
                  </a:lnTo>
                  <a:lnTo>
                    <a:pt x="3005258" y="2341154"/>
                  </a:lnTo>
                  <a:close/>
                  <a:moveTo>
                    <a:pt x="2914115" y="2150747"/>
                  </a:moveTo>
                  <a:cubicBezTo>
                    <a:pt x="2865394" y="2020552"/>
                    <a:pt x="2838716" y="1879562"/>
                    <a:pt x="2838716" y="1732379"/>
                  </a:cubicBezTo>
                  <a:cubicBezTo>
                    <a:pt x="2838716" y="1402725"/>
                    <a:pt x="2972359" y="1104216"/>
                    <a:pt x="3188425" y="888140"/>
                  </a:cubicBezTo>
                  <a:cubicBezTo>
                    <a:pt x="3278480" y="798090"/>
                    <a:pt x="3382801" y="722392"/>
                    <a:pt x="3497760" y="664677"/>
                  </a:cubicBezTo>
                  <a:lnTo>
                    <a:pt x="3456397" y="564138"/>
                  </a:lnTo>
                  <a:cubicBezTo>
                    <a:pt x="3410771" y="573209"/>
                    <a:pt x="3364274" y="566933"/>
                    <a:pt x="3322911" y="548065"/>
                  </a:cubicBezTo>
                  <a:cubicBezTo>
                    <a:pt x="3281802" y="529351"/>
                    <a:pt x="3245827" y="498122"/>
                    <a:pt x="3220883" y="457212"/>
                  </a:cubicBezTo>
                  <a:lnTo>
                    <a:pt x="578789" y="1513247"/>
                  </a:lnTo>
                  <a:cubicBezTo>
                    <a:pt x="588969" y="1560087"/>
                    <a:pt x="584413" y="1607505"/>
                    <a:pt x="567572" y="1649378"/>
                  </a:cubicBezTo>
                  <a:cubicBezTo>
                    <a:pt x="550691" y="1691398"/>
                    <a:pt x="521417" y="1727872"/>
                    <a:pt x="482229" y="1752787"/>
                  </a:cubicBezTo>
                  <a:lnTo>
                    <a:pt x="885097" y="2760717"/>
                  </a:lnTo>
                  <a:cubicBezTo>
                    <a:pt x="930605" y="2751723"/>
                    <a:pt x="976945" y="2758003"/>
                    <a:pt x="1018201" y="2776823"/>
                  </a:cubicBezTo>
                  <a:cubicBezTo>
                    <a:pt x="1059300" y="2795546"/>
                    <a:pt x="1095314" y="2826769"/>
                    <a:pt x="1120229" y="2867682"/>
                  </a:cubicBezTo>
                  <a:lnTo>
                    <a:pt x="2914086" y="2150649"/>
                  </a:lnTo>
                  <a:close/>
                  <a:moveTo>
                    <a:pt x="4792119" y="972934"/>
                  </a:moveTo>
                  <a:cubicBezTo>
                    <a:pt x="4597754" y="778559"/>
                    <a:pt x="4329253" y="658358"/>
                    <a:pt x="4032655" y="658358"/>
                  </a:cubicBezTo>
                  <a:cubicBezTo>
                    <a:pt x="3736066" y="658358"/>
                    <a:pt x="3467546" y="778598"/>
                    <a:pt x="3273171" y="972934"/>
                  </a:cubicBezTo>
                  <a:cubicBezTo>
                    <a:pt x="3078795" y="1167309"/>
                    <a:pt x="2958594" y="1435810"/>
                    <a:pt x="2958594" y="1732409"/>
                  </a:cubicBezTo>
                  <a:cubicBezTo>
                    <a:pt x="2958594" y="2028998"/>
                    <a:pt x="3078834" y="2297547"/>
                    <a:pt x="3273171" y="2491883"/>
                  </a:cubicBezTo>
                  <a:cubicBezTo>
                    <a:pt x="3467546" y="2686258"/>
                    <a:pt x="3736046" y="2806460"/>
                    <a:pt x="4032655" y="2806460"/>
                  </a:cubicBezTo>
                  <a:cubicBezTo>
                    <a:pt x="4329244" y="2806460"/>
                    <a:pt x="4597783" y="2686219"/>
                    <a:pt x="4792119" y="2491883"/>
                  </a:cubicBezTo>
                  <a:cubicBezTo>
                    <a:pt x="4986505" y="2297508"/>
                    <a:pt x="5106696" y="2029007"/>
                    <a:pt x="5106696" y="1732409"/>
                  </a:cubicBezTo>
                  <a:cubicBezTo>
                    <a:pt x="5106696" y="1435820"/>
                    <a:pt x="4986495" y="1167270"/>
                    <a:pt x="4792119" y="972934"/>
                  </a:cubicBezTo>
                  <a:close/>
                  <a:moveTo>
                    <a:pt x="1967113" y="1311396"/>
                  </a:moveTo>
                  <a:cubicBezTo>
                    <a:pt x="1957630" y="1291576"/>
                    <a:pt x="1966006" y="1267808"/>
                    <a:pt x="1985836" y="1258315"/>
                  </a:cubicBezTo>
                  <a:cubicBezTo>
                    <a:pt x="2005655" y="1248822"/>
                    <a:pt x="2029423" y="1257208"/>
                    <a:pt x="2038916" y="1277028"/>
                  </a:cubicBezTo>
                  <a:lnTo>
                    <a:pt x="2077645" y="1358050"/>
                  </a:lnTo>
                  <a:cubicBezTo>
                    <a:pt x="2097699" y="1353191"/>
                    <a:pt x="2118518" y="1351123"/>
                    <a:pt x="2139445" y="1352074"/>
                  </a:cubicBezTo>
                  <a:cubicBezTo>
                    <a:pt x="2200795" y="1354984"/>
                    <a:pt x="2262213" y="1384189"/>
                    <a:pt x="2305732" y="1448820"/>
                  </a:cubicBezTo>
                  <a:cubicBezTo>
                    <a:pt x="2317978" y="1467082"/>
                    <a:pt x="2313080" y="1491840"/>
                    <a:pt x="2294789" y="1504086"/>
                  </a:cubicBezTo>
                  <a:cubicBezTo>
                    <a:pt x="2276497" y="1516333"/>
                    <a:pt x="2251779" y="1511434"/>
                    <a:pt x="2239533" y="1493143"/>
                  </a:cubicBezTo>
                  <a:cubicBezTo>
                    <a:pt x="2211817" y="1452005"/>
                    <a:pt x="2173549" y="1433439"/>
                    <a:pt x="2135663" y="1431636"/>
                  </a:cubicBezTo>
                  <a:cubicBezTo>
                    <a:pt x="2113267" y="1430608"/>
                    <a:pt x="2090802" y="1435281"/>
                    <a:pt x="2070405" y="1444461"/>
                  </a:cubicBezTo>
                  <a:cubicBezTo>
                    <a:pt x="2050124" y="1453651"/>
                    <a:pt x="2032294" y="1467151"/>
                    <a:pt x="2019087" y="1483845"/>
                  </a:cubicBezTo>
                  <a:cubicBezTo>
                    <a:pt x="1999228" y="1508985"/>
                    <a:pt x="1989735" y="1542128"/>
                    <a:pt x="1998611" y="1579132"/>
                  </a:cubicBezTo>
                  <a:cubicBezTo>
                    <a:pt x="2042395" y="1648437"/>
                    <a:pt x="2108829" y="1636005"/>
                    <a:pt x="2173353" y="1623905"/>
                  </a:cubicBezTo>
                  <a:cubicBezTo>
                    <a:pt x="2265926" y="1606535"/>
                    <a:pt x="2355825" y="1589694"/>
                    <a:pt x="2418164" y="1709522"/>
                  </a:cubicBezTo>
                  <a:cubicBezTo>
                    <a:pt x="2420574" y="1714108"/>
                    <a:pt x="2421956" y="1718938"/>
                    <a:pt x="2422494" y="1723836"/>
                  </a:cubicBezTo>
                  <a:cubicBezTo>
                    <a:pt x="2435848" y="1796276"/>
                    <a:pt x="2411277" y="1856293"/>
                    <a:pt x="2368796" y="1898274"/>
                  </a:cubicBezTo>
                  <a:cubicBezTo>
                    <a:pt x="2361488" y="1905505"/>
                    <a:pt x="2353640" y="1912127"/>
                    <a:pt x="2345342" y="1918211"/>
                  </a:cubicBezTo>
                  <a:lnTo>
                    <a:pt x="2387930" y="2007307"/>
                  </a:lnTo>
                  <a:cubicBezTo>
                    <a:pt x="2397424" y="2027126"/>
                    <a:pt x="2389047" y="2050894"/>
                    <a:pt x="2369218" y="2060388"/>
                  </a:cubicBezTo>
                  <a:cubicBezTo>
                    <a:pt x="2349398" y="2069871"/>
                    <a:pt x="2325630" y="2061495"/>
                    <a:pt x="2316137" y="2041665"/>
                  </a:cubicBezTo>
                  <a:lnTo>
                    <a:pt x="2273813" y="1953148"/>
                  </a:lnTo>
                  <a:cubicBezTo>
                    <a:pt x="2246675" y="1960917"/>
                    <a:pt x="2218244" y="1963641"/>
                    <a:pt x="2190763" y="1960731"/>
                  </a:cubicBezTo>
                  <a:cubicBezTo>
                    <a:pt x="2132940" y="1954529"/>
                    <a:pt x="2079438" y="1924139"/>
                    <a:pt x="2049586" y="1864131"/>
                  </a:cubicBezTo>
                  <a:cubicBezTo>
                    <a:pt x="2039789" y="1844390"/>
                    <a:pt x="2047832" y="1820426"/>
                    <a:pt x="2067534" y="1810590"/>
                  </a:cubicBezTo>
                  <a:cubicBezTo>
                    <a:pt x="2087246" y="1800763"/>
                    <a:pt x="2111239" y="1808797"/>
                    <a:pt x="2121036" y="1828538"/>
                  </a:cubicBezTo>
                  <a:cubicBezTo>
                    <a:pt x="2137339" y="1861339"/>
                    <a:pt x="2167004" y="1877984"/>
                    <a:pt x="2199188" y="1881433"/>
                  </a:cubicBezTo>
                  <a:cubicBezTo>
                    <a:pt x="2219164" y="1883579"/>
                    <a:pt x="2240170" y="1880894"/>
                    <a:pt x="2259881" y="1874046"/>
                  </a:cubicBezTo>
                  <a:cubicBezTo>
                    <a:pt x="2279672" y="1867159"/>
                    <a:pt x="2298110" y="1856098"/>
                    <a:pt x="2312884" y="1841519"/>
                  </a:cubicBezTo>
                  <a:cubicBezTo>
                    <a:pt x="2337073" y="1817634"/>
                    <a:pt x="2351269" y="1783422"/>
                    <a:pt x="2344764" y="1741824"/>
                  </a:cubicBezTo>
                  <a:cubicBezTo>
                    <a:pt x="2309367" y="1679592"/>
                    <a:pt x="2249516" y="1690771"/>
                    <a:pt x="2188010" y="1702282"/>
                  </a:cubicBezTo>
                  <a:cubicBezTo>
                    <a:pt x="2095701" y="1719584"/>
                    <a:pt x="2000639" y="1737415"/>
                    <a:pt x="1928650" y="1617478"/>
                  </a:cubicBezTo>
                  <a:cubicBezTo>
                    <a:pt x="1926201" y="1613922"/>
                    <a:pt x="1924251" y="1609905"/>
                    <a:pt x="1923026" y="1605506"/>
                  </a:cubicBezTo>
                  <a:cubicBezTo>
                    <a:pt x="1904500" y="1539523"/>
                    <a:pt x="1920920" y="1479829"/>
                    <a:pt x="1956630" y="1434595"/>
                  </a:cubicBezTo>
                  <a:cubicBezTo>
                    <a:pt x="1970170" y="1417411"/>
                    <a:pt x="1986512" y="1402480"/>
                    <a:pt x="2004695" y="1390194"/>
                  </a:cubicBezTo>
                  <a:lnTo>
                    <a:pt x="1967035" y="1311396"/>
                  </a:lnTo>
                  <a:close/>
                  <a:moveTo>
                    <a:pt x="3972785" y="964704"/>
                  </a:moveTo>
                  <a:cubicBezTo>
                    <a:pt x="3972785" y="931600"/>
                    <a:pt x="3999619" y="904775"/>
                    <a:pt x="4032723" y="904775"/>
                  </a:cubicBezTo>
                  <a:cubicBezTo>
                    <a:pt x="4065828" y="904775"/>
                    <a:pt x="4092652" y="931639"/>
                    <a:pt x="4092652" y="964704"/>
                  </a:cubicBezTo>
                  <a:lnTo>
                    <a:pt x="4092652" y="1149586"/>
                  </a:lnTo>
                  <a:cubicBezTo>
                    <a:pt x="4114774" y="1154289"/>
                    <a:pt x="4136622" y="1160687"/>
                    <a:pt x="4157823" y="1168759"/>
                  </a:cubicBezTo>
                  <a:cubicBezTo>
                    <a:pt x="4281012" y="1215756"/>
                    <a:pt x="4385068" y="1318891"/>
                    <a:pt x="4408757" y="1479172"/>
                  </a:cubicBezTo>
                  <a:cubicBezTo>
                    <a:pt x="4413548" y="1511895"/>
                    <a:pt x="4390926" y="1542275"/>
                    <a:pt x="4358165" y="1547066"/>
                  </a:cubicBezTo>
                  <a:cubicBezTo>
                    <a:pt x="4325443" y="1551847"/>
                    <a:pt x="4295062" y="1529226"/>
                    <a:pt x="4290271" y="1496513"/>
                  </a:cubicBezTo>
                  <a:cubicBezTo>
                    <a:pt x="4273861" y="1385227"/>
                    <a:pt x="4201224" y="1313493"/>
                    <a:pt x="4115186" y="1280662"/>
                  </a:cubicBezTo>
                  <a:cubicBezTo>
                    <a:pt x="4074704" y="1265203"/>
                    <a:pt x="4031528" y="1258129"/>
                    <a:pt x="3989851" y="1259354"/>
                  </a:cubicBezTo>
                  <a:cubicBezTo>
                    <a:pt x="3949056" y="1260539"/>
                    <a:pt x="3909759" y="1269680"/>
                    <a:pt x="3876038" y="1286717"/>
                  </a:cubicBezTo>
                  <a:cubicBezTo>
                    <a:pt x="3818793" y="1315570"/>
                    <a:pt x="3777763" y="1368993"/>
                    <a:pt x="3775578" y="1446645"/>
                  </a:cubicBezTo>
                  <a:cubicBezTo>
                    <a:pt x="3770836" y="1615646"/>
                    <a:pt x="3913766" y="1650740"/>
                    <a:pt x="4051965" y="1684648"/>
                  </a:cubicBezTo>
                  <a:cubicBezTo>
                    <a:pt x="4234897" y="1729577"/>
                    <a:pt x="4411745" y="1772969"/>
                    <a:pt x="4387321" y="2023374"/>
                  </a:cubicBezTo>
                  <a:cubicBezTo>
                    <a:pt x="4373664" y="2163708"/>
                    <a:pt x="4290809" y="2248630"/>
                    <a:pt x="4184716" y="2286212"/>
                  </a:cubicBezTo>
                  <a:cubicBezTo>
                    <a:pt x="4155403" y="2296616"/>
                    <a:pt x="4124327" y="2303161"/>
                    <a:pt x="4092603" y="2306110"/>
                  </a:cubicBezTo>
                  <a:lnTo>
                    <a:pt x="4092603" y="2500064"/>
                  </a:lnTo>
                  <a:cubicBezTo>
                    <a:pt x="4092603" y="2533168"/>
                    <a:pt x="4065779" y="2559993"/>
                    <a:pt x="4032674" y="2559993"/>
                  </a:cubicBezTo>
                  <a:cubicBezTo>
                    <a:pt x="3999570" y="2559993"/>
                    <a:pt x="3972745" y="2533168"/>
                    <a:pt x="3972745" y="2500064"/>
                  </a:cubicBezTo>
                  <a:lnTo>
                    <a:pt x="3972745" y="2300643"/>
                  </a:lnTo>
                  <a:cubicBezTo>
                    <a:pt x="3937877" y="2294324"/>
                    <a:pt x="3903744" y="2283998"/>
                    <a:pt x="3871746" y="2269909"/>
                  </a:cubicBezTo>
                  <a:cubicBezTo>
                    <a:pt x="3755062" y="2218513"/>
                    <a:pt x="3664517" y="2117632"/>
                    <a:pt x="3662332" y="1977866"/>
                  </a:cubicBezTo>
                  <a:cubicBezTo>
                    <a:pt x="3661794" y="1944918"/>
                    <a:pt x="3688119" y="1917751"/>
                    <a:pt x="3721115" y="1917251"/>
                  </a:cubicBezTo>
                  <a:cubicBezTo>
                    <a:pt x="3754063" y="1916752"/>
                    <a:pt x="3781231" y="1943047"/>
                    <a:pt x="3781730" y="1976034"/>
                  </a:cubicBezTo>
                  <a:cubicBezTo>
                    <a:pt x="3783073" y="2062367"/>
                    <a:pt x="3842884" y="2126440"/>
                    <a:pt x="3919998" y="2160377"/>
                  </a:cubicBezTo>
                  <a:cubicBezTo>
                    <a:pt x="3952985" y="2174877"/>
                    <a:pt x="3988813" y="2183988"/>
                    <a:pt x="4024631" y="2187123"/>
                  </a:cubicBezTo>
                  <a:cubicBezTo>
                    <a:pt x="4027276" y="2186741"/>
                    <a:pt x="4029951" y="2186594"/>
                    <a:pt x="4032704" y="2186594"/>
                  </a:cubicBezTo>
                  <a:cubicBezTo>
                    <a:pt x="4037681" y="2186594"/>
                    <a:pt x="4042462" y="2187202"/>
                    <a:pt x="4047096" y="2188309"/>
                  </a:cubicBezTo>
                  <a:cubicBezTo>
                    <a:pt x="4081239" y="2188926"/>
                    <a:pt x="4114725" y="2184106"/>
                    <a:pt x="4144989" y="2173388"/>
                  </a:cubicBezTo>
                  <a:cubicBezTo>
                    <a:pt x="4209552" y="2150502"/>
                    <a:pt x="4260027" y="2098450"/>
                    <a:pt x="4268452" y="2012156"/>
                  </a:cubicBezTo>
                  <a:cubicBezTo>
                    <a:pt x="4282844" y="1864513"/>
                    <a:pt x="4155364" y="1833162"/>
                    <a:pt x="4023445" y="1800793"/>
                  </a:cubicBezTo>
                  <a:cubicBezTo>
                    <a:pt x="3839249" y="1755559"/>
                    <a:pt x="3648705" y="1708788"/>
                    <a:pt x="3656209" y="1443393"/>
                  </a:cubicBezTo>
                  <a:cubicBezTo>
                    <a:pt x="3659815" y="1315687"/>
                    <a:pt x="3727631" y="1227660"/>
                    <a:pt x="3822222" y="1179938"/>
                  </a:cubicBezTo>
                  <a:cubicBezTo>
                    <a:pt x="3867690" y="1157013"/>
                    <a:pt x="3919429" y="1143845"/>
                    <a:pt x="3972814" y="1140553"/>
                  </a:cubicBezTo>
                  <a:lnTo>
                    <a:pt x="3972814" y="964665"/>
                  </a:lnTo>
                  <a:close/>
                  <a:moveTo>
                    <a:pt x="1931550" y="1064626"/>
                  </a:moveTo>
                  <a:cubicBezTo>
                    <a:pt x="2096690" y="998612"/>
                    <a:pt x="2272921" y="1005764"/>
                    <a:pt x="2424277" y="1070670"/>
                  </a:cubicBezTo>
                  <a:cubicBezTo>
                    <a:pt x="2575790" y="1135655"/>
                    <a:pt x="2702506" y="1258384"/>
                    <a:pt x="2768520" y="1423485"/>
                  </a:cubicBezTo>
                  <a:cubicBezTo>
                    <a:pt x="2834503" y="1588616"/>
                    <a:pt x="2827381" y="1764857"/>
                    <a:pt x="2762436" y="1916213"/>
                  </a:cubicBezTo>
                  <a:cubicBezTo>
                    <a:pt x="2697500" y="2067726"/>
                    <a:pt x="2574722" y="2194432"/>
                    <a:pt x="2409621" y="2260416"/>
                  </a:cubicBezTo>
                  <a:lnTo>
                    <a:pt x="2409582" y="2260337"/>
                  </a:lnTo>
                  <a:lnTo>
                    <a:pt x="2409435" y="2260416"/>
                  </a:lnTo>
                  <a:cubicBezTo>
                    <a:pt x="2244333" y="2326400"/>
                    <a:pt x="2068220" y="2319238"/>
                    <a:pt x="1916903" y="2254332"/>
                  </a:cubicBezTo>
                  <a:cubicBezTo>
                    <a:pt x="1765429" y="2189387"/>
                    <a:pt x="1638713" y="2066658"/>
                    <a:pt x="1572778" y="1901556"/>
                  </a:cubicBezTo>
                  <a:cubicBezTo>
                    <a:pt x="1506765" y="1736386"/>
                    <a:pt x="1513878" y="1560145"/>
                    <a:pt x="1578823" y="1408789"/>
                  </a:cubicBezTo>
                  <a:cubicBezTo>
                    <a:pt x="1643768" y="1257277"/>
                    <a:pt x="1766497" y="1130570"/>
                    <a:pt x="1931599" y="1064586"/>
                  </a:cubicBezTo>
                  <a:close/>
                  <a:moveTo>
                    <a:pt x="2393054" y="1144031"/>
                  </a:moveTo>
                  <a:cubicBezTo>
                    <a:pt x="2260293" y="1087090"/>
                    <a:pt x="2105831" y="1080781"/>
                    <a:pt x="1961176" y="1138604"/>
                  </a:cubicBezTo>
                  <a:cubicBezTo>
                    <a:pt x="1816512" y="1196427"/>
                    <a:pt x="1708968" y="1307409"/>
                    <a:pt x="1652106" y="1440062"/>
                  </a:cubicBezTo>
                  <a:cubicBezTo>
                    <a:pt x="1595194" y="1572823"/>
                    <a:pt x="1588846" y="1727275"/>
                    <a:pt x="1646668" y="1871900"/>
                  </a:cubicBezTo>
                  <a:cubicBezTo>
                    <a:pt x="1704491" y="2016604"/>
                    <a:pt x="1815473" y="2124138"/>
                    <a:pt x="1948087" y="2181010"/>
                  </a:cubicBezTo>
                  <a:cubicBezTo>
                    <a:pt x="2080613" y="2237843"/>
                    <a:pt x="2234771" y="2244270"/>
                    <a:pt x="2379161" y="2186830"/>
                  </a:cubicBezTo>
                  <a:lnTo>
                    <a:pt x="2379926" y="2186438"/>
                  </a:lnTo>
                  <a:cubicBezTo>
                    <a:pt x="2524629" y="2128615"/>
                    <a:pt x="2632163" y="2017643"/>
                    <a:pt x="2689035" y="1885019"/>
                  </a:cubicBezTo>
                  <a:cubicBezTo>
                    <a:pt x="2745976" y="1752258"/>
                    <a:pt x="2752295" y="1597806"/>
                    <a:pt x="2694473" y="1453141"/>
                  </a:cubicBezTo>
                  <a:cubicBezTo>
                    <a:pt x="2636640" y="1308447"/>
                    <a:pt x="2525668" y="1200914"/>
                    <a:pt x="2393015" y="1144031"/>
                  </a:cubicBezTo>
                  <a:close/>
                  <a:moveTo>
                    <a:pt x="1215329" y="1837943"/>
                  </a:moveTo>
                  <a:lnTo>
                    <a:pt x="1215486" y="1837875"/>
                  </a:lnTo>
                  <a:cubicBezTo>
                    <a:pt x="1264629" y="1818241"/>
                    <a:pt x="1317014" y="1820348"/>
                    <a:pt x="1361983" y="1839589"/>
                  </a:cubicBezTo>
                  <a:cubicBezTo>
                    <a:pt x="1407109" y="1858958"/>
                    <a:pt x="1444837" y="1895502"/>
                    <a:pt x="1464471" y="1944644"/>
                  </a:cubicBezTo>
                  <a:lnTo>
                    <a:pt x="1464393" y="1944683"/>
                  </a:lnTo>
                  <a:lnTo>
                    <a:pt x="1464471" y="1944879"/>
                  </a:lnTo>
                  <a:cubicBezTo>
                    <a:pt x="1484104" y="1994022"/>
                    <a:pt x="1481998" y="2046407"/>
                    <a:pt x="1462707" y="2091376"/>
                  </a:cubicBezTo>
                  <a:cubicBezTo>
                    <a:pt x="1443348" y="2136492"/>
                    <a:pt x="1406795" y="2174270"/>
                    <a:pt x="1357653" y="2193903"/>
                  </a:cubicBezTo>
                  <a:lnTo>
                    <a:pt x="1357427" y="2193942"/>
                  </a:lnTo>
                  <a:cubicBezTo>
                    <a:pt x="1308285" y="2213576"/>
                    <a:pt x="1255899" y="2211469"/>
                    <a:pt x="1210970" y="2192179"/>
                  </a:cubicBezTo>
                  <a:cubicBezTo>
                    <a:pt x="1165854" y="2172820"/>
                    <a:pt x="1128076" y="2136306"/>
                    <a:pt x="1108403" y="2087124"/>
                  </a:cubicBezTo>
                  <a:cubicBezTo>
                    <a:pt x="1088731" y="2037913"/>
                    <a:pt x="1090837" y="1985439"/>
                    <a:pt x="1110167" y="1940471"/>
                  </a:cubicBezTo>
                  <a:cubicBezTo>
                    <a:pt x="1129526" y="1895316"/>
                    <a:pt x="1166079" y="1857577"/>
                    <a:pt x="1215222" y="1837904"/>
                  </a:cubicBezTo>
                  <a:lnTo>
                    <a:pt x="1215261" y="1837983"/>
                  </a:lnTo>
                  <a:close/>
                  <a:moveTo>
                    <a:pt x="1330760" y="1912999"/>
                  </a:moveTo>
                  <a:cubicBezTo>
                    <a:pt x="1304581" y="1901782"/>
                    <a:pt x="1274191" y="1900400"/>
                    <a:pt x="1245720" y="1911500"/>
                  </a:cubicBezTo>
                  <a:lnTo>
                    <a:pt x="1244956" y="1911883"/>
                  </a:lnTo>
                  <a:cubicBezTo>
                    <a:pt x="1216211" y="1923365"/>
                    <a:pt x="1194853" y="1945369"/>
                    <a:pt x="1183606" y="1971665"/>
                  </a:cubicBezTo>
                  <a:cubicBezTo>
                    <a:pt x="1172281" y="1998068"/>
                    <a:pt x="1171017" y="2028762"/>
                    <a:pt x="1182460" y="2057429"/>
                  </a:cubicBezTo>
                  <a:cubicBezTo>
                    <a:pt x="1193942" y="2086203"/>
                    <a:pt x="1215947" y="2107522"/>
                    <a:pt x="1242232" y="2118779"/>
                  </a:cubicBezTo>
                  <a:cubicBezTo>
                    <a:pt x="1268410" y="2129987"/>
                    <a:pt x="1298801" y="2131368"/>
                    <a:pt x="1327272" y="2120268"/>
                  </a:cubicBezTo>
                  <a:lnTo>
                    <a:pt x="1328075" y="2119886"/>
                  </a:lnTo>
                  <a:cubicBezTo>
                    <a:pt x="1356781" y="2108403"/>
                    <a:pt x="1378138" y="2086399"/>
                    <a:pt x="1389425" y="2060143"/>
                  </a:cubicBezTo>
                  <a:cubicBezTo>
                    <a:pt x="1400633" y="2033965"/>
                    <a:pt x="1402014" y="2003623"/>
                    <a:pt x="1390914" y="1975103"/>
                  </a:cubicBezTo>
                  <a:lnTo>
                    <a:pt x="1390532" y="1974300"/>
                  </a:lnTo>
                  <a:cubicBezTo>
                    <a:pt x="1379049" y="1945604"/>
                    <a:pt x="1357045" y="1924246"/>
                    <a:pt x="1330789" y="1912960"/>
                  </a:cubicBezTo>
                  <a:close/>
                  <a:moveTo>
                    <a:pt x="2555304" y="4648460"/>
                  </a:moveTo>
                  <a:cubicBezTo>
                    <a:pt x="2562192" y="4653848"/>
                    <a:pt x="2568844" y="4659482"/>
                    <a:pt x="2575202" y="4665448"/>
                  </a:cubicBezTo>
                  <a:cubicBezTo>
                    <a:pt x="2626716" y="4713787"/>
                    <a:pt x="2658704" y="4780721"/>
                    <a:pt x="2658704" y="4854464"/>
                  </a:cubicBezTo>
                  <a:lnTo>
                    <a:pt x="2658704" y="4956149"/>
                  </a:lnTo>
                  <a:cubicBezTo>
                    <a:pt x="2658704" y="5029863"/>
                    <a:pt x="2626716" y="5096787"/>
                    <a:pt x="2575202" y="5145126"/>
                  </a:cubicBezTo>
                  <a:cubicBezTo>
                    <a:pt x="2524610" y="5192583"/>
                    <a:pt x="2455227" y="5222092"/>
                    <a:pt x="2379260" y="5222092"/>
                  </a:cubicBezTo>
                  <a:lnTo>
                    <a:pt x="526424" y="5222092"/>
                  </a:lnTo>
                  <a:cubicBezTo>
                    <a:pt x="450457" y="5222092"/>
                    <a:pt x="380995" y="5192622"/>
                    <a:pt x="330402" y="5145165"/>
                  </a:cubicBezTo>
                  <a:cubicBezTo>
                    <a:pt x="278928" y="5096865"/>
                    <a:pt x="246931" y="5029970"/>
                    <a:pt x="246931" y="4956188"/>
                  </a:cubicBezTo>
                  <a:lnTo>
                    <a:pt x="246931" y="4854503"/>
                  </a:lnTo>
                  <a:cubicBezTo>
                    <a:pt x="246931" y="4780682"/>
                    <a:pt x="278928" y="4713787"/>
                    <a:pt x="330402" y="4665487"/>
                  </a:cubicBezTo>
                  <a:cubicBezTo>
                    <a:pt x="336751" y="4659521"/>
                    <a:pt x="343374" y="4653848"/>
                    <a:pt x="350301" y="4648499"/>
                  </a:cubicBezTo>
                  <a:cubicBezTo>
                    <a:pt x="343413" y="4643140"/>
                    <a:pt x="336751" y="4637477"/>
                    <a:pt x="330442" y="4631501"/>
                  </a:cubicBezTo>
                  <a:cubicBezTo>
                    <a:pt x="278967" y="4583201"/>
                    <a:pt x="246970" y="4516306"/>
                    <a:pt x="246970" y="4442485"/>
                  </a:cubicBezTo>
                  <a:lnTo>
                    <a:pt x="246970" y="4340839"/>
                  </a:lnTo>
                  <a:cubicBezTo>
                    <a:pt x="246970" y="4267018"/>
                    <a:pt x="278967" y="4200123"/>
                    <a:pt x="330442" y="4151823"/>
                  </a:cubicBezTo>
                  <a:cubicBezTo>
                    <a:pt x="336751" y="4145895"/>
                    <a:pt x="343413" y="4140194"/>
                    <a:pt x="350301" y="4134874"/>
                  </a:cubicBezTo>
                  <a:cubicBezTo>
                    <a:pt x="343413" y="4129515"/>
                    <a:pt x="336751" y="4123852"/>
                    <a:pt x="330442" y="4117876"/>
                  </a:cubicBezTo>
                  <a:cubicBezTo>
                    <a:pt x="278928" y="4069586"/>
                    <a:pt x="246970" y="4002642"/>
                    <a:pt x="246970" y="3928860"/>
                  </a:cubicBezTo>
                  <a:lnTo>
                    <a:pt x="246970" y="3827214"/>
                  </a:lnTo>
                  <a:cubicBezTo>
                    <a:pt x="246970" y="3753393"/>
                    <a:pt x="278967" y="3686459"/>
                    <a:pt x="330442" y="3638159"/>
                  </a:cubicBezTo>
                  <a:cubicBezTo>
                    <a:pt x="380995" y="3590701"/>
                    <a:pt x="450417" y="3561280"/>
                    <a:pt x="526463" y="3561280"/>
                  </a:cubicBezTo>
                  <a:lnTo>
                    <a:pt x="2379299" y="3561280"/>
                  </a:lnTo>
                  <a:cubicBezTo>
                    <a:pt x="2455334" y="3561280"/>
                    <a:pt x="2524767" y="3590701"/>
                    <a:pt x="2575320" y="3638159"/>
                  </a:cubicBezTo>
                  <a:cubicBezTo>
                    <a:pt x="2626823" y="3686459"/>
                    <a:pt x="2658782" y="3753393"/>
                    <a:pt x="2658782" y="3827214"/>
                  </a:cubicBezTo>
                  <a:lnTo>
                    <a:pt x="2658782" y="3928860"/>
                  </a:lnTo>
                  <a:cubicBezTo>
                    <a:pt x="2658782" y="4002681"/>
                    <a:pt x="2626823" y="4069576"/>
                    <a:pt x="2575359" y="4117876"/>
                  </a:cubicBezTo>
                  <a:cubicBezTo>
                    <a:pt x="2569001" y="4123852"/>
                    <a:pt x="2562378" y="4129515"/>
                    <a:pt x="2555451" y="4134874"/>
                  </a:cubicBezTo>
                  <a:cubicBezTo>
                    <a:pt x="2562339" y="4140233"/>
                    <a:pt x="2568962" y="4145895"/>
                    <a:pt x="2575320" y="4151823"/>
                  </a:cubicBezTo>
                  <a:cubicBezTo>
                    <a:pt x="2626823" y="4200162"/>
                    <a:pt x="2658782" y="4267096"/>
                    <a:pt x="2658782" y="4340839"/>
                  </a:cubicBezTo>
                  <a:lnTo>
                    <a:pt x="2658782" y="4442485"/>
                  </a:lnTo>
                  <a:cubicBezTo>
                    <a:pt x="2658782" y="4516267"/>
                    <a:pt x="2626794" y="4583162"/>
                    <a:pt x="2575320" y="4631501"/>
                  </a:cubicBezTo>
                  <a:cubicBezTo>
                    <a:pt x="2568962" y="4637438"/>
                    <a:pt x="2562339" y="4643140"/>
                    <a:pt x="2555412" y="4648499"/>
                  </a:cubicBezTo>
                  <a:close/>
                  <a:moveTo>
                    <a:pt x="2493269" y="4752555"/>
                  </a:moveTo>
                  <a:cubicBezTo>
                    <a:pt x="2464260" y="4725338"/>
                    <a:pt x="2423885" y="4708389"/>
                    <a:pt x="2379211" y="4708389"/>
                  </a:cubicBezTo>
                  <a:lnTo>
                    <a:pt x="526385" y="4708389"/>
                  </a:lnTo>
                  <a:cubicBezTo>
                    <a:pt x="481680" y="4708389"/>
                    <a:pt x="441306" y="4725299"/>
                    <a:pt x="412297" y="4752515"/>
                  </a:cubicBezTo>
                  <a:cubicBezTo>
                    <a:pt x="384199" y="4778879"/>
                    <a:pt x="366789" y="4814972"/>
                    <a:pt x="366789" y="4854425"/>
                  </a:cubicBezTo>
                  <a:lnTo>
                    <a:pt x="366789" y="4956110"/>
                  </a:lnTo>
                  <a:cubicBezTo>
                    <a:pt x="366789" y="4995563"/>
                    <a:pt x="384238" y="5031655"/>
                    <a:pt x="412326" y="5057980"/>
                  </a:cubicBezTo>
                  <a:cubicBezTo>
                    <a:pt x="441375" y="5085226"/>
                    <a:pt x="481749" y="5102146"/>
                    <a:pt x="526375" y="5102146"/>
                  </a:cubicBezTo>
                  <a:lnTo>
                    <a:pt x="2379211" y="5102146"/>
                  </a:lnTo>
                  <a:cubicBezTo>
                    <a:pt x="2423836" y="5102146"/>
                    <a:pt x="2464171" y="5085187"/>
                    <a:pt x="2493220" y="5057941"/>
                  </a:cubicBezTo>
                  <a:cubicBezTo>
                    <a:pt x="2521318" y="5031577"/>
                    <a:pt x="2538806" y="4995484"/>
                    <a:pt x="2538806" y="4956071"/>
                  </a:cubicBezTo>
                  <a:lnTo>
                    <a:pt x="2538806" y="4854386"/>
                  </a:lnTo>
                  <a:cubicBezTo>
                    <a:pt x="2538806" y="4814962"/>
                    <a:pt x="2521357" y="4778879"/>
                    <a:pt x="2493220" y="4752476"/>
                  </a:cubicBezTo>
                  <a:close/>
                  <a:moveTo>
                    <a:pt x="2493269" y="4238890"/>
                  </a:moveTo>
                  <a:cubicBezTo>
                    <a:pt x="2464260" y="4211674"/>
                    <a:pt x="2423915" y="4194764"/>
                    <a:pt x="2379211" y="4194764"/>
                  </a:cubicBezTo>
                  <a:lnTo>
                    <a:pt x="526385" y="4194764"/>
                  </a:lnTo>
                  <a:cubicBezTo>
                    <a:pt x="481680" y="4194764"/>
                    <a:pt x="441306" y="4211674"/>
                    <a:pt x="412297" y="4238890"/>
                  </a:cubicBezTo>
                  <a:cubicBezTo>
                    <a:pt x="384199" y="4265215"/>
                    <a:pt x="366789" y="4301347"/>
                    <a:pt x="366789" y="4340800"/>
                  </a:cubicBezTo>
                  <a:lnTo>
                    <a:pt x="366789" y="4442445"/>
                  </a:lnTo>
                  <a:cubicBezTo>
                    <a:pt x="366789" y="4481938"/>
                    <a:pt x="384238" y="4518030"/>
                    <a:pt x="412297" y="4544355"/>
                  </a:cubicBezTo>
                  <a:cubicBezTo>
                    <a:pt x="441336" y="4571562"/>
                    <a:pt x="481680" y="4588521"/>
                    <a:pt x="526385" y="4588521"/>
                  </a:cubicBezTo>
                  <a:lnTo>
                    <a:pt x="2379211" y="4588521"/>
                  </a:lnTo>
                  <a:cubicBezTo>
                    <a:pt x="2423836" y="4588521"/>
                    <a:pt x="2464250" y="4571601"/>
                    <a:pt x="2493269" y="4544355"/>
                  </a:cubicBezTo>
                  <a:cubicBezTo>
                    <a:pt x="2521357" y="4517981"/>
                    <a:pt x="2538845" y="4481899"/>
                    <a:pt x="2538845" y="4442445"/>
                  </a:cubicBezTo>
                  <a:lnTo>
                    <a:pt x="2538845" y="4340800"/>
                  </a:lnTo>
                  <a:cubicBezTo>
                    <a:pt x="2538845" y="4301377"/>
                    <a:pt x="2521396" y="4265254"/>
                    <a:pt x="2493269" y="4238890"/>
                  </a:cubicBezTo>
                  <a:close/>
                  <a:moveTo>
                    <a:pt x="2379211" y="3681139"/>
                  </a:moveTo>
                  <a:lnTo>
                    <a:pt x="526385" y="3681139"/>
                  </a:lnTo>
                  <a:cubicBezTo>
                    <a:pt x="481680" y="3681139"/>
                    <a:pt x="441306" y="3698049"/>
                    <a:pt x="412297" y="3725265"/>
                  </a:cubicBezTo>
                  <a:cubicBezTo>
                    <a:pt x="384199" y="3751590"/>
                    <a:pt x="366789" y="3787722"/>
                    <a:pt x="366789" y="3827214"/>
                  </a:cubicBezTo>
                  <a:lnTo>
                    <a:pt x="366789" y="3928860"/>
                  </a:lnTo>
                  <a:cubicBezTo>
                    <a:pt x="366789" y="3968352"/>
                    <a:pt x="384199" y="4004435"/>
                    <a:pt x="412297" y="4030770"/>
                  </a:cubicBezTo>
                  <a:cubicBezTo>
                    <a:pt x="441296" y="4057976"/>
                    <a:pt x="481680" y="4074886"/>
                    <a:pt x="526385" y="4074886"/>
                  </a:cubicBezTo>
                  <a:lnTo>
                    <a:pt x="2379211" y="4074886"/>
                  </a:lnTo>
                  <a:cubicBezTo>
                    <a:pt x="2423915" y="4074886"/>
                    <a:pt x="2464289" y="4057976"/>
                    <a:pt x="2493308" y="4030770"/>
                  </a:cubicBezTo>
                  <a:cubicBezTo>
                    <a:pt x="2521396" y="4004435"/>
                    <a:pt x="2538806" y="3968313"/>
                    <a:pt x="2538806" y="3928860"/>
                  </a:cubicBezTo>
                  <a:lnTo>
                    <a:pt x="2538806" y="3827214"/>
                  </a:lnTo>
                  <a:cubicBezTo>
                    <a:pt x="2538806" y="3787712"/>
                    <a:pt x="2521357" y="3751590"/>
                    <a:pt x="2493308" y="3725265"/>
                  </a:cubicBezTo>
                  <a:cubicBezTo>
                    <a:pt x="2464299" y="3698049"/>
                    <a:pt x="2423925" y="3681139"/>
                    <a:pt x="2379211" y="3681139"/>
                  </a:cubicBezTo>
                  <a:close/>
                  <a:moveTo>
                    <a:pt x="4959788" y="3167475"/>
                  </a:moveTo>
                  <a:lnTo>
                    <a:pt x="3106942" y="3167475"/>
                  </a:lnTo>
                  <a:cubicBezTo>
                    <a:pt x="3062248" y="3167475"/>
                    <a:pt x="3021874" y="3184345"/>
                    <a:pt x="2992855" y="3211601"/>
                  </a:cubicBezTo>
                  <a:cubicBezTo>
                    <a:pt x="2964766" y="3237926"/>
                    <a:pt x="2947357" y="3274058"/>
                    <a:pt x="2947357" y="3313511"/>
                  </a:cubicBezTo>
                  <a:lnTo>
                    <a:pt x="2947357" y="3415156"/>
                  </a:lnTo>
                  <a:cubicBezTo>
                    <a:pt x="2947357" y="3454648"/>
                    <a:pt x="2964766" y="3490731"/>
                    <a:pt x="2992855" y="3517105"/>
                  </a:cubicBezTo>
                  <a:cubicBezTo>
                    <a:pt x="3021864" y="3544312"/>
                    <a:pt x="3062238" y="3561192"/>
                    <a:pt x="3106942" y="3561192"/>
                  </a:cubicBezTo>
                  <a:lnTo>
                    <a:pt x="4959788" y="3561192"/>
                  </a:lnTo>
                  <a:cubicBezTo>
                    <a:pt x="5004483" y="3561192"/>
                    <a:pt x="5044856" y="3544273"/>
                    <a:pt x="5073876" y="3517105"/>
                  </a:cubicBezTo>
                  <a:cubicBezTo>
                    <a:pt x="5101964" y="3490731"/>
                    <a:pt x="5119374" y="3454648"/>
                    <a:pt x="5119374" y="3415156"/>
                  </a:cubicBezTo>
                  <a:lnTo>
                    <a:pt x="5119374" y="3313511"/>
                  </a:lnTo>
                  <a:cubicBezTo>
                    <a:pt x="5119374" y="3274009"/>
                    <a:pt x="5101964" y="3237926"/>
                    <a:pt x="5073876" y="3211601"/>
                  </a:cubicBezTo>
                  <a:cubicBezTo>
                    <a:pt x="5044866" y="3184345"/>
                    <a:pt x="5004483" y="3167475"/>
                    <a:pt x="4959788" y="3167475"/>
                  </a:cubicBezTo>
                  <a:close/>
                  <a:moveTo>
                    <a:pt x="4959788" y="3681139"/>
                  </a:moveTo>
                  <a:lnTo>
                    <a:pt x="3106942" y="3681139"/>
                  </a:lnTo>
                  <a:cubicBezTo>
                    <a:pt x="3062248" y="3681139"/>
                    <a:pt x="3021874" y="3698049"/>
                    <a:pt x="2992855" y="3725265"/>
                  </a:cubicBezTo>
                  <a:cubicBezTo>
                    <a:pt x="2964766" y="3751629"/>
                    <a:pt x="2947357" y="3787722"/>
                    <a:pt x="2947357" y="3827214"/>
                  </a:cubicBezTo>
                  <a:lnTo>
                    <a:pt x="2947357" y="3928860"/>
                  </a:lnTo>
                  <a:cubicBezTo>
                    <a:pt x="2947357" y="3968352"/>
                    <a:pt x="2964805" y="4004435"/>
                    <a:pt x="2992894" y="4030770"/>
                  </a:cubicBezTo>
                  <a:cubicBezTo>
                    <a:pt x="3021903" y="4058015"/>
                    <a:pt x="3062277" y="4074925"/>
                    <a:pt x="3106942" y="4074925"/>
                  </a:cubicBezTo>
                  <a:lnTo>
                    <a:pt x="4959778" y="4074925"/>
                  </a:lnTo>
                  <a:cubicBezTo>
                    <a:pt x="5004443" y="4074925"/>
                    <a:pt x="5044817" y="4058015"/>
                    <a:pt x="5073827" y="4030770"/>
                  </a:cubicBezTo>
                  <a:cubicBezTo>
                    <a:pt x="5101954" y="4004395"/>
                    <a:pt x="5119413" y="3968313"/>
                    <a:pt x="5119413" y="3928860"/>
                  </a:cubicBezTo>
                  <a:lnTo>
                    <a:pt x="5119413" y="3827214"/>
                  </a:lnTo>
                  <a:cubicBezTo>
                    <a:pt x="5119413" y="3787751"/>
                    <a:pt x="5101954" y="3751629"/>
                    <a:pt x="5073866" y="3725265"/>
                  </a:cubicBezTo>
                  <a:cubicBezTo>
                    <a:pt x="5044856" y="3698010"/>
                    <a:pt x="5004483" y="3681100"/>
                    <a:pt x="4959817" y="3681100"/>
                  </a:cubicBezTo>
                  <a:close/>
                  <a:moveTo>
                    <a:pt x="5073836" y="4752555"/>
                  </a:moveTo>
                  <a:cubicBezTo>
                    <a:pt x="5044827" y="4725338"/>
                    <a:pt x="5004483" y="4708389"/>
                    <a:pt x="4959788" y="4708389"/>
                  </a:cubicBezTo>
                  <a:lnTo>
                    <a:pt x="3106942" y="4708389"/>
                  </a:lnTo>
                  <a:cubicBezTo>
                    <a:pt x="3062248" y="4708389"/>
                    <a:pt x="3021874" y="4725299"/>
                    <a:pt x="2992855" y="4752515"/>
                  </a:cubicBezTo>
                  <a:cubicBezTo>
                    <a:pt x="2964766" y="4778840"/>
                    <a:pt x="2947357" y="4814972"/>
                    <a:pt x="2947357" y="4854464"/>
                  </a:cubicBezTo>
                  <a:lnTo>
                    <a:pt x="2947357" y="4956071"/>
                  </a:lnTo>
                  <a:cubicBezTo>
                    <a:pt x="2947357" y="4995563"/>
                    <a:pt x="2964805" y="5031655"/>
                    <a:pt x="2992894" y="5057980"/>
                  </a:cubicBezTo>
                  <a:cubicBezTo>
                    <a:pt x="3021942" y="5085226"/>
                    <a:pt x="3062316" y="5102146"/>
                    <a:pt x="3106942" y="5102146"/>
                  </a:cubicBezTo>
                  <a:lnTo>
                    <a:pt x="4959778" y="5102146"/>
                  </a:lnTo>
                  <a:cubicBezTo>
                    <a:pt x="5004365" y="5102146"/>
                    <a:pt x="5044739" y="5085187"/>
                    <a:pt x="5073787" y="5057941"/>
                  </a:cubicBezTo>
                  <a:cubicBezTo>
                    <a:pt x="5101925" y="5031577"/>
                    <a:pt x="5119374" y="4995445"/>
                    <a:pt x="5119374" y="4956071"/>
                  </a:cubicBezTo>
                  <a:lnTo>
                    <a:pt x="5119374" y="4854464"/>
                  </a:lnTo>
                  <a:cubicBezTo>
                    <a:pt x="5119374" y="4815041"/>
                    <a:pt x="5101925" y="4778918"/>
                    <a:pt x="5073787" y="4752555"/>
                  </a:cubicBezTo>
                  <a:close/>
                  <a:moveTo>
                    <a:pt x="5073866" y="4238929"/>
                  </a:moveTo>
                  <a:cubicBezTo>
                    <a:pt x="5044866" y="4211713"/>
                    <a:pt x="5004483" y="4194764"/>
                    <a:pt x="4959817" y="4194764"/>
                  </a:cubicBezTo>
                  <a:lnTo>
                    <a:pt x="3106981" y="4194764"/>
                  </a:lnTo>
                  <a:cubicBezTo>
                    <a:pt x="3062287" y="4194764"/>
                    <a:pt x="3021913" y="4211674"/>
                    <a:pt x="2992894" y="4238890"/>
                  </a:cubicBezTo>
                  <a:cubicBezTo>
                    <a:pt x="2964805" y="4265254"/>
                    <a:pt x="2947396" y="4301347"/>
                    <a:pt x="2947396" y="4340839"/>
                  </a:cubicBezTo>
                  <a:lnTo>
                    <a:pt x="2947396" y="4442445"/>
                  </a:lnTo>
                  <a:cubicBezTo>
                    <a:pt x="2947396" y="4481938"/>
                    <a:pt x="2964845" y="4518030"/>
                    <a:pt x="2992894" y="4544355"/>
                  </a:cubicBezTo>
                  <a:cubicBezTo>
                    <a:pt x="3021942" y="4571601"/>
                    <a:pt x="3062316" y="4588521"/>
                    <a:pt x="3106981" y="4588521"/>
                  </a:cubicBezTo>
                  <a:lnTo>
                    <a:pt x="4959817" y="4588521"/>
                  </a:lnTo>
                  <a:cubicBezTo>
                    <a:pt x="5004443" y="4588521"/>
                    <a:pt x="5044856" y="4571601"/>
                    <a:pt x="5073866" y="4544355"/>
                  </a:cubicBezTo>
                  <a:cubicBezTo>
                    <a:pt x="5102003" y="4517981"/>
                    <a:pt x="5119452" y="4481899"/>
                    <a:pt x="5119452" y="4442445"/>
                  </a:cubicBezTo>
                  <a:lnTo>
                    <a:pt x="5119452" y="4340839"/>
                  </a:lnTo>
                  <a:cubicBezTo>
                    <a:pt x="5119452" y="4301377"/>
                    <a:pt x="5102003" y="4265254"/>
                    <a:pt x="5073905" y="4238929"/>
                  </a:cubicBezTo>
                  <a:close/>
                </a:path>
              </a:pathLst>
            </a:custGeom>
            <a:solidFill>
              <a:srgbClr val="1F4CB9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Graphic 28">
            <a:extLst>
              <a:ext uri="{FF2B5EF4-FFF2-40B4-BE49-F238E27FC236}">
                <a16:creationId xmlns:a16="http://schemas.microsoft.com/office/drawing/2014/main" id="{74BE52A7-47D8-4C13-A15B-B68077B40513}"/>
              </a:ext>
            </a:extLst>
          </p:cNvPr>
          <p:cNvSpPr/>
          <p:nvPr/>
        </p:nvSpPr>
        <p:spPr>
          <a:xfrm>
            <a:off x="396272" y="2328369"/>
            <a:ext cx="620400" cy="620398"/>
          </a:xfrm>
          <a:custGeom>
            <a:avLst/>
            <a:gdLst>
              <a:gd name="connsiteX0" fmla="*/ 4115272 w 4732020"/>
              <a:gd name="connsiteY0" fmla="*/ 7758 h 4732020"/>
              <a:gd name="connsiteX1" fmla="*/ 4082704 w 4732020"/>
              <a:gd name="connsiteY1" fmla="*/ 23181 h 4732020"/>
              <a:gd name="connsiteX2" fmla="*/ 3314588 w 4732020"/>
              <a:gd name="connsiteY2" fmla="*/ 791297 h 4732020"/>
              <a:gd name="connsiteX3" fmla="*/ 3299165 w 4732020"/>
              <a:gd name="connsiteY3" fmla="*/ 830714 h 4732020"/>
              <a:gd name="connsiteX4" fmla="*/ 3299165 w 4732020"/>
              <a:gd name="connsiteY4" fmla="*/ 1355361 h 4732020"/>
              <a:gd name="connsiteX5" fmla="*/ 2944284 w 4732020"/>
              <a:gd name="connsiteY5" fmla="*/ 1710282 h 4732020"/>
              <a:gd name="connsiteX6" fmla="*/ 2092158 w 4732020"/>
              <a:gd name="connsiteY6" fmla="*/ 1379364 h 4732020"/>
              <a:gd name="connsiteX7" fmla="*/ 830286 w 4732020"/>
              <a:gd name="connsiteY7" fmla="*/ 2641236 h 4732020"/>
              <a:gd name="connsiteX8" fmla="*/ 2092158 w 4732020"/>
              <a:gd name="connsiteY8" fmla="*/ 3903108 h 4732020"/>
              <a:gd name="connsiteX9" fmla="*/ 3354030 w 4732020"/>
              <a:gd name="connsiteY9" fmla="*/ 2641236 h 4732020"/>
              <a:gd name="connsiteX10" fmla="*/ 3021426 w 4732020"/>
              <a:gd name="connsiteY10" fmla="*/ 1787435 h 4732020"/>
              <a:gd name="connsiteX11" fmla="*/ 3376308 w 4732020"/>
              <a:gd name="connsiteY11" fmla="*/ 1434238 h 4732020"/>
              <a:gd name="connsiteX12" fmla="*/ 3654077 w 4732020"/>
              <a:gd name="connsiteY12" fmla="*/ 1434238 h 4732020"/>
              <a:gd name="connsiteX13" fmla="*/ 4067281 w 4732020"/>
              <a:gd name="connsiteY13" fmla="*/ 2641246 h 4732020"/>
              <a:gd name="connsiteX14" fmla="*/ 2092177 w 4732020"/>
              <a:gd name="connsiteY14" fmla="*/ 4616350 h 4732020"/>
              <a:gd name="connsiteX15" fmla="*/ 117073 w 4732020"/>
              <a:gd name="connsiteY15" fmla="*/ 2641246 h 4732020"/>
              <a:gd name="connsiteX16" fmla="*/ 2092177 w 4732020"/>
              <a:gd name="connsiteY16" fmla="*/ 666142 h 4732020"/>
              <a:gd name="connsiteX17" fmla="*/ 3000862 w 4732020"/>
              <a:gd name="connsiteY17" fmla="*/ 887342 h 4732020"/>
              <a:gd name="connsiteX18" fmla="*/ 3043648 w 4732020"/>
              <a:gd name="connsiteY18" fmla="*/ 891973 h 4732020"/>
              <a:gd name="connsiteX19" fmla="*/ 3076637 w 4732020"/>
              <a:gd name="connsiteY19" fmla="*/ 864342 h 4732020"/>
              <a:gd name="connsiteX20" fmla="*/ 3079546 w 4732020"/>
              <a:gd name="connsiteY20" fmla="*/ 821441 h 4732020"/>
              <a:gd name="connsiteX21" fmla="*/ 3050576 w 4732020"/>
              <a:gd name="connsiteY21" fmla="*/ 789600 h 4732020"/>
              <a:gd name="connsiteX22" fmla="*/ 2092180 w 4732020"/>
              <a:gd name="connsiteY22" fmla="*/ 556418 h 4732020"/>
              <a:gd name="connsiteX23" fmla="*/ 7348 w 4732020"/>
              <a:gd name="connsiteY23" fmla="*/ 2641251 h 4732020"/>
              <a:gd name="connsiteX24" fmla="*/ 2092180 w 4732020"/>
              <a:gd name="connsiteY24" fmla="*/ 4726083 h 4732020"/>
              <a:gd name="connsiteX25" fmla="*/ 4177012 w 4732020"/>
              <a:gd name="connsiteY25" fmla="*/ 2641251 h 4732020"/>
              <a:gd name="connsiteX26" fmla="*/ 3791249 w 4732020"/>
              <a:gd name="connsiteY26" fmla="*/ 1434242 h 4732020"/>
              <a:gd name="connsiteX27" fmla="*/ 3902692 w 4732020"/>
              <a:gd name="connsiteY27" fmla="*/ 1434242 h 4732020"/>
              <a:gd name="connsiteX28" fmla="*/ 3942110 w 4732020"/>
              <a:gd name="connsiteY28" fmla="*/ 1418820 h 4732020"/>
              <a:gd name="connsiteX29" fmla="*/ 4710226 w 4732020"/>
              <a:gd name="connsiteY29" fmla="*/ 650704 h 4732020"/>
              <a:gd name="connsiteX30" fmla="*/ 4722701 w 4732020"/>
              <a:gd name="connsiteY30" fmla="*/ 590084 h 4732020"/>
              <a:gd name="connsiteX31" fmla="*/ 4670769 w 4732020"/>
              <a:gd name="connsiteY31" fmla="*/ 556407 h 4732020"/>
              <a:gd name="connsiteX32" fmla="*/ 4177012 w 4732020"/>
              <a:gd name="connsiteY32" fmla="*/ 556407 h 4732020"/>
              <a:gd name="connsiteX33" fmla="*/ 4177012 w 4732020"/>
              <a:gd name="connsiteY33" fmla="*/ 62650 h 4732020"/>
              <a:gd name="connsiteX34" fmla="*/ 4158604 w 4732020"/>
              <a:gd name="connsiteY34" fmla="*/ 21204 h 4732020"/>
              <a:gd name="connsiteX35" fmla="*/ 4115282 w 4732020"/>
              <a:gd name="connsiteY35" fmla="*/ 7771 h 4732020"/>
              <a:gd name="connsiteX36" fmla="*/ 4067281 w 4732020"/>
              <a:gd name="connsiteY36" fmla="*/ 196353 h 4732020"/>
              <a:gd name="connsiteX37" fmla="*/ 4067281 w 4732020"/>
              <a:gd name="connsiteY37" fmla="*/ 587279 h 4732020"/>
              <a:gd name="connsiteX38" fmla="*/ 3408884 w 4732020"/>
              <a:gd name="connsiteY38" fmla="*/ 1245637 h 4732020"/>
              <a:gd name="connsiteX39" fmla="*/ 3408884 w 4732020"/>
              <a:gd name="connsiteY39" fmla="*/ 854712 h 4732020"/>
              <a:gd name="connsiteX40" fmla="*/ 4144434 w 4732020"/>
              <a:gd name="connsiteY40" fmla="*/ 666117 h 4732020"/>
              <a:gd name="connsiteX41" fmla="*/ 4537045 w 4732020"/>
              <a:gd name="connsiteY41" fmla="*/ 666117 h 4732020"/>
              <a:gd name="connsiteX42" fmla="*/ 3878686 w 4732020"/>
              <a:gd name="connsiteY42" fmla="*/ 1324514 h 4732020"/>
              <a:gd name="connsiteX43" fmla="*/ 3486036 w 4732020"/>
              <a:gd name="connsiteY43" fmla="*/ 1324514 h 4732020"/>
              <a:gd name="connsiteX44" fmla="*/ 2092128 w 4732020"/>
              <a:gd name="connsiteY44" fmla="*/ 1489077 h 4732020"/>
              <a:gd name="connsiteX45" fmla="*/ 2865378 w 4732020"/>
              <a:gd name="connsiteY45" fmla="*/ 1789114 h 4732020"/>
              <a:gd name="connsiteX46" fmla="*/ 2359600 w 4732020"/>
              <a:gd name="connsiteY46" fmla="*/ 2294892 h 4732020"/>
              <a:gd name="connsiteX47" fmla="*/ 2092128 w 4732020"/>
              <a:gd name="connsiteY47" fmla="*/ 2202316 h 4732020"/>
              <a:gd name="connsiteX48" fmla="*/ 1653206 w 4732020"/>
              <a:gd name="connsiteY48" fmla="*/ 2641238 h 4732020"/>
              <a:gd name="connsiteX49" fmla="*/ 2092128 w 4732020"/>
              <a:gd name="connsiteY49" fmla="*/ 3080160 h 4732020"/>
              <a:gd name="connsiteX50" fmla="*/ 2531050 w 4732020"/>
              <a:gd name="connsiteY50" fmla="*/ 2641238 h 4732020"/>
              <a:gd name="connsiteX51" fmla="*/ 2438475 w 4732020"/>
              <a:gd name="connsiteY51" fmla="*/ 2372042 h 4732020"/>
              <a:gd name="connsiteX52" fmla="*/ 2944252 w 4732020"/>
              <a:gd name="connsiteY52" fmla="*/ 1866265 h 4732020"/>
              <a:gd name="connsiteX53" fmla="*/ 3244290 w 4732020"/>
              <a:gd name="connsiteY53" fmla="*/ 2641238 h 4732020"/>
              <a:gd name="connsiteX54" fmla="*/ 2092146 w 4732020"/>
              <a:gd name="connsiteY54" fmla="*/ 3793382 h 4732020"/>
              <a:gd name="connsiteX55" fmla="*/ 940002 w 4732020"/>
              <a:gd name="connsiteY55" fmla="*/ 2641238 h 4732020"/>
              <a:gd name="connsiteX56" fmla="*/ 2092146 w 4732020"/>
              <a:gd name="connsiteY56" fmla="*/ 1489094 h 4732020"/>
              <a:gd name="connsiteX57" fmla="*/ 2092128 w 4732020"/>
              <a:gd name="connsiteY57" fmla="*/ 2312037 h 4732020"/>
              <a:gd name="connsiteX58" fmla="*/ 2282448 w 4732020"/>
              <a:gd name="connsiteY58" fmla="*/ 2372044 h 4732020"/>
              <a:gd name="connsiteX59" fmla="*/ 2052714 w 4732020"/>
              <a:gd name="connsiteY59" fmla="*/ 2601817 h 4732020"/>
              <a:gd name="connsiteX60" fmla="*/ 2053786 w 4732020"/>
              <a:gd name="connsiteY60" fmla="*/ 2679581 h 4732020"/>
              <a:gd name="connsiteX61" fmla="*/ 2131551 w 4732020"/>
              <a:gd name="connsiteY61" fmla="*/ 2678969 h 4732020"/>
              <a:gd name="connsiteX62" fmla="*/ 2359599 w 4732020"/>
              <a:gd name="connsiteY62" fmla="*/ 2450921 h 4732020"/>
              <a:gd name="connsiteX63" fmla="*/ 2421329 w 4732020"/>
              <a:gd name="connsiteY63" fmla="*/ 2641240 h 4732020"/>
              <a:gd name="connsiteX64" fmla="*/ 2092125 w 4732020"/>
              <a:gd name="connsiteY64" fmla="*/ 2970444 h 4732020"/>
              <a:gd name="connsiteX65" fmla="*/ 1762922 w 4732020"/>
              <a:gd name="connsiteY65" fmla="*/ 2641240 h 4732020"/>
              <a:gd name="connsiteX66" fmla="*/ 2092125 w 4732020"/>
              <a:gd name="connsiteY66" fmla="*/ 2312037 h 4732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4732020" h="4732020">
                <a:moveTo>
                  <a:pt x="4115272" y="7758"/>
                </a:moveTo>
                <a:cubicBezTo>
                  <a:pt x="4102987" y="9098"/>
                  <a:pt x="4091506" y="14532"/>
                  <a:pt x="4082704" y="23181"/>
                </a:cubicBezTo>
                <a:lnTo>
                  <a:pt x="3314588" y="791297"/>
                </a:lnTo>
                <a:cubicBezTo>
                  <a:pt x="3304408" y="801821"/>
                  <a:pt x="3298821" y="816057"/>
                  <a:pt x="3299165" y="830714"/>
                </a:cubicBezTo>
                <a:lnTo>
                  <a:pt x="3299165" y="1355361"/>
                </a:lnTo>
                <a:lnTo>
                  <a:pt x="2944284" y="1710282"/>
                </a:lnTo>
                <a:cubicBezTo>
                  <a:pt x="2719596" y="1504464"/>
                  <a:pt x="2420293" y="1379364"/>
                  <a:pt x="2092158" y="1379364"/>
                </a:cubicBezTo>
                <a:cubicBezTo>
                  <a:pt x="1395914" y="1379364"/>
                  <a:pt x="830286" y="1944992"/>
                  <a:pt x="830286" y="2641236"/>
                </a:cubicBezTo>
                <a:cubicBezTo>
                  <a:pt x="830286" y="3337480"/>
                  <a:pt x="1395914" y="3903108"/>
                  <a:pt x="2092158" y="3903108"/>
                </a:cubicBezTo>
                <a:cubicBezTo>
                  <a:pt x="2788402" y="3903108"/>
                  <a:pt x="3354030" y="3337480"/>
                  <a:pt x="3354030" y="2641236"/>
                </a:cubicBezTo>
                <a:cubicBezTo>
                  <a:pt x="3354030" y="2312268"/>
                  <a:pt x="3228195" y="2012269"/>
                  <a:pt x="3021426" y="1787435"/>
                </a:cubicBezTo>
                <a:lnTo>
                  <a:pt x="3376308" y="1434238"/>
                </a:lnTo>
                <a:lnTo>
                  <a:pt x="3654077" y="1434238"/>
                </a:lnTo>
                <a:cubicBezTo>
                  <a:pt x="3912937" y="1768301"/>
                  <a:pt x="4067281" y="2185669"/>
                  <a:pt x="4067281" y="2641246"/>
                </a:cubicBezTo>
                <a:cubicBezTo>
                  <a:pt x="4067281" y="3732746"/>
                  <a:pt x="3183628" y="4616350"/>
                  <a:pt x="2092177" y="4616350"/>
                </a:cubicBezTo>
                <a:cubicBezTo>
                  <a:pt x="1000726" y="4616350"/>
                  <a:pt x="117073" y="3732697"/>
                  <a:pt x="117073" y="2641246"/>
                </a:cubicBezTo>
                <a:cubicBezTo>
                  <a:pt x="117073" y="1549795"/>
                  <a:pt x="1000726" y="666142"/>
                  <a:pt x="2092177" y="666142"/>
                </a:cubicBezTo>
                <a:cubicBezTo>
                  <a:pt x="2419999" y="666142"/>
                  <a:pt x="2729148" y="746127"/>
                  <a:pt x="3000862" y="887342"/>
                </a:cubicBezTo>
                <a:cubicBezTo>
                  <a:pt x="3013874" y="894651"/>
                  <a:pt x="3029335" y="896335"/>
                  <a:pt x="3043648" y="891973"/>
                </a:cubicBezTo>
                <a:cubicBezTo>
                  <a:pt x="3057923" y="887648"/>
                  <a:pt x="3069863" y="877660"/>
                  <a:pt x="3076637" y="864342"/>
                </a:cubicBezTo>
                <a:cubicBezTo>
                  <a:pt x="3083411" y="851062"/>
                  <a:pt x="3084444" y="835524"/>
                  <a:pt x="3079546" y="821441"/>
                </a:cubicBezTo>
                <a:cubicBezTo>
                  <a:pt x="3074609" y="807319"/>
                  <a:pt x="3064161" y="795838"/>
                  <a:pt x="3050576" y="789600"/>
                </a:cubicBezTo>
                <a:cubicBezTo>
                  <a:pt x="2763706" y="640498"/>
                  <a:pt x="2437833" y="556418"/>
                  <a:pt x="2092180" y="556418"/>
                </a:cubicBezTo>
                <a:cubicBezTo>
                  <a:pt x="941408" y="556418"/>
                  <a:pt x="7348" y="1490478"/>
                  <a:pt x="7348" y="2641251"/>
                </a:cubicBezTo>
                <a:cubicBezTo>
                  <a:pt x="7348" y="3792023"/>
                  <a:pt x="941408" y="4726083"/>
                  <a:pt x="2092180" y="4726083"/>
                </a:cubicBezTo>
                <a:cubicBezTo>
                  <a:pt x="3242952" y="4726083"/>
                  <a:pt x="4177012" y="3792023"/>
                  <a:pt x="4177012" y="2641251"/>
                </a:cubicBezTo>
                <a:cubicBezTo>
                  <a:pt x="4177012" y="2191425"/>
                  <a:pt x="4033729" y="1774850"/>
                  <a:pt x="3791249" y="1434242"/>
                </a:cubicBezTo>
                <a:lnTo>
                  <a:pt x="3902692" y="1434242"/>
                </a:lnTo>
                <a:cubicBezTo>
                  <a:pt x="3917349" y="1434587"/>
                  <a:pt x="3931586" y="1428999"/>
                  <a:pt x="3942110" y="1418820"/>
                </a:cubicBezTo>
                <a:lnTo>
                  <a:pt x="4710226" y="650704"/>
                </a:lnTo>
                <a:cubicBezTo>
                  <a:pt x="4726452" y="635013"/>
                  <a:pt x="4731389" y="610942"/>
                  <a:pt x="4722701" y="590084"/>
                </a:cubicBezTo>
                <a:cubicBezTo>
                  <a:pt x="4713976" y="569265"/>
                  <a:pt x="4693348" y="555871"/>
                  <a:pt x="4670769" y="556407"/>
                </a:cubicBezTo>
                <a:lnTo>
                  <a:pt x="4177012" y="556407"/>
                </a:lnTo>
                <a:lnTo>
                  <a:pt x="4177012" y="62650"/>
                </a:lnTo>
                <a:cubicBezTo>
                  <a:pt x="4177127" y="46806"/>
                  <a:pt x="4170430" y="31729"/>
                  <a:pt x="4158604" y="21204"/>
                </a:cubicBezTo>
                <a:cubicBezTo>
                  <a:pt x="4146779" y="10679"/>
                  <a:pt x="4130973" y="5819"/>
                  <a:pt x="4115282" y="7771"/>
                </a:cubicBezTo>
                <a:close/>
                <a:moveTo>
                  <a:pt x="4067281" y="196353"/>
                </a:moveTo>
                <a:lnTo>
                  <a:pt x="4067281" y="587279"/>
                </a:lnTo>
                <a:lnTo>
                  <a:pt x="3408884" y="1245637"/>
                </a:lnTo>
                <a:lnTo>
                  <a:pt x="3408884" y="854712"/>
                </a:lnTo>
                <a:close/>
                <a:moveTo>
                  <a:pt x="4144434" y="666117"/>
                </a:moveTo>
                <a:lnTo>
                  <a:pt x="4537045" y="666117"/>
                </a:lnTo>
                <a:lnTo>
                  <a:pt x="3878686" y="1324514"/>
                </a:lnTo>
                <a:lnTo>
                  <a:pt x="3486036" y="1324514"/>
                </a:lnTo>
                <a:close/>
                <a:moveTo>
                  <a:pt x="2092128" y="1489077"/>
                </a:moveTo>
                <a:cubicBezTo>
                  <a:pt x="2390480" y="1489077"/>
                  <a:pt x="2660970" y="1603615"/>
                  <a:pt x="2865378" y="1789114"/>
                </a:cubicBezTo>
                <a:lnTo>
                  <a:pt x="2359600" y="2294892"/>
                </a:lnTo>
                <a:cubicBezTo>
                  <a:pt x="2285471" y="2237678"/>
                  <a:pt x="2192706" y="2202316"/>
                  <a:pt x="2092128" y="2202316"/>
                </a:cubicBezTo>
                <a:cubicBezTo>
                  <a:pt x="1850374" y="2202316"/>
                  <a:pt x="1653206" y="2399484"/>
                  <a:pt x="1653206" y="2641238"/>
                </a:cubicBezTo>
                <a:cubicBezTo>
                  <a:pt x="1653206" y="2882993"/>
                  <a:pt x="1850374" y="3080160"/>
                  <a:pt x="2092128" y="3080160"/>
                </a:cubicBezTo>
                <a:cubicBezTo>
                  <a:pt x="2333883" y="3080160"/>
                  <a:pt x="2531050" y="2882993"/>
                  <a:pt x="2531050" y="2641238"/>
                </a:cubicBezTo>
                <a:cubicBezTo>
                  <a:pt x="2531050" y="2540171"/>
                  <a:pt x="2496186" y="2446363"/>
                  <a:pt x="2438475" y="2372042"/>
                </a:cubicBezTo>
                <a:lnTo>
                  <a:pt x="2944252" y="1866265"/>
                </a:lnTo>
                <a:cubicBezTo>
                  <a:pt x="3130241" y="2070780"/>
                  <a:pt x="3244290" y="2342425"/>
                  <a:pt x="3244290" y="2641238"/>
                </a:cubicBezTo>
                <a:cubicBezTo>
                  <a:pt x="3244290" y="3278209"/>
                  <a:pt x="2729097" y="3793382"/>
                  <a:pt x="2092146" y="3793382"/>
                </a:cubicBezTo>
                <a:cubicBezTo>
                  <a:pt x="1455194" y="3793382"/>
                  <a:pt x="940002" y="3278190"/>
                  <a:pt x="940002" y="2641238"/>
                </a:cubicBezTo>
                <a:cubicBezTo>
                  <a:pt x="940002" y="2004287"/>
                  <a:pt x="1455194" y="1489094"/>
                  <a:pt x="2092146" y="1489094"/>
                </a:cubicBezTo>
                <a:close/>
                <a:moveTo>
                  <a:pt x="2092128" y="2312037"/>
                </a:moveTo>
                <a:cubicBezTo>
                  <a:pt x="2162852" y="2312037"/>
                  <a:pt x="2228906" y="2334425"/>
                  <a:pt x="2282448" y="2372044"/>
                </a:cubicBezTo>
                <a:lnTo>
                  <a:pt x="2052714" y="2601817"/>
                </a:lnTo>
                <a:cubicBezTo>
                  <a:pt x="2031628" y="2623631"/>
                  <a:pt x="2032086" y="2658379"/>
                  <a:pt x="2053786" y="2679581"/>
                </a:cubicBezTo>
                <a:cubicBezTo>
                  <a:pt x="2075485" y="2700783"/>
                  <a:pt x="2110234" y="2700515"/>
                  <a:pt x="2131551" y="2678969"/>
                </a:cubicBezTo>
                <a:lnTo>
                  <a:pt x="2359599" y="2450921"/>
                </a:lnTo>
                <a:cubicBezTo>
                  <a:pt x="2397601" y="2504614"/>
                  <a:pt x="2421329" y="2570133"/>
                  <a:pt x="2421329" y="2641240"/>
                </a:cubicBezTo>
                <a:cubicBezTo>
                  <a:pt x="2421329" y="2823673"/>
                  <a:pt x="2274597" y="2970444"/>
                  <a:pt x="2092125" y="2970444"/>
                </a:cubicBezTo>
                <a:cubicBezTo>
                  <a:pt x="1909653" y="2970444"/>
                  <a:pt x="1762922" y="2823683"/>
                  <a:pt x="1762922" y="2641240"/>
                </a:cubicBezTo>
                <a:cubicBezTo>
                  <a:pt x="1762922" y="2458768"/>
                  <a:pt x="1909653" y="2312037"/>
                  <a:pt x="2092125" y="2312037"/>
                </a:cubicBezTo>
                <a:close/>
              </a:path>
            </a:pathLst>
          </a:custGeom>
          <a:solidFill>
            <a:srgbClr val="1F4CB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120781B-B58A-5401-3511-2DA27D9372E3}"/>
              </a:ext>
            </a:extLst>
          </p:cNvPr>
          <p:cNvSpPr txBox="1"/>
          <p:nvPr/>
        </p:nvSpPr>
        <p:spPr>
          <a:xfrm>
            <a:off x="1357162" y="5962157"/>
            <a:ext cx="2257493" cy="1442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IN" sz="1400" dirty="0">
                <a:latin typeface="Georgia" panose="02040502050405020303" pitchFamily="18" charset="0"/>
              </a:rPr>
              <a:t>This is when the expenses and income balance each other out and you as a business owner no longer need to invest your own money to run the business. </a:t>
            </a:r>
            <a:endParaRPr lang="en-US" sz="1400" b="1" dirty="0">
              <a:solidFill>
                <a:srgbClr val="FF9629"/>
              </a:solidFill>
              <a:latin typeface="Georgia" panose="02040502050405020303" pitchFamily="18" charset="0"/>
            </a:endParaRPr>
          </a:p>
        </p:txBody>
      </p:sp>
      <p:sp>
        <p:nvSpPr>
          <p:cNvPr id="34" name="Graphic 32">
            <a:extLst>
              <a:ext uri="{FF2B5EF4-FFF2-40B4-BE49-F238E27FC236}">
                <a16:creationId xmlns:a16="http://schemas.microsoft.com/office/drawing/2014/main" id="{8FFE7836-0D3B-464F-8FA2-25F0E6B57CD0}"/>
              </a:ext>
            </a:extLst>
          </p:cNvPr>
          <p:cNvSpPr/>
          <p:nvPr/>
        </p:nvSpPr>
        <p:spPr>
          <a:xfrm>
            <a:off x="396272" y="5962157"/>
            <a:ext cx="718394" cy="659578"/>
          </a:xfrm>
          <a:custGeom>
            <a:avLst/>
            <a:gdLst>
              <a:gd name="connsiteX0" fmla="*/ 4986222 w 5025934"/>
              <a:gd name="connsiteY0" fmla="*/ 2693935 h 4614454"/>
              <a:gd name="connsiteX1" fmla="*/ 4847034 w 5025934"/>
              <a:gd name="connsiteY1" fmla="*/ 2693935 h 4614454"/>
              <a:gd name="connsiteX2" fmla="*/ 4242982 w 5025934"/>
              <a:gd name="connsiteY2" fmla="*/ 1037826 h 4614454"/>
              <a:gd name="connsiteX3" fmla="*/ 4333299 w 5025934"/>
              <a:gd name="connsiteY3" fmla="*/ 893740 h 4614454"/>
              <a:gd name="connsiteX4" fmla="*/ 4251019 w 5025934"/>
              <a:gd name="connsiteY4" fmla="*/ 893740 h 4614454"/>
              <a:gd name="connsiteX5" fmla="*/ 4214585 w 5025934"/>
              <a:gd name="connsiteY5" fmla="*/ 960023 h 4614454"/>
              <a:gd name="connsiteX6" fmla="*/ 4207161 w 5025934"/>
              <a:gd name="connsiteY6" fmla="*/ 939664 h 4614454"/>
              <a:gd name="connsiteX7" fmla="*/ 4168470 w 5025934"/>
              <a:gd name="connsiteY7" fmla="*/ 912607 h 4614454"/>
              <a:gd name="connsiteX8" fmla="*/ 4129779 w 5025934"/>
              <a:gd name="connsiteY8" fmla="*/ 939664 h 4614454"/>
              <a:gd name="connsiteX9" fmla="*/ 4123924 w 5025934"/>
              <a:gd name="connsiteY9" fmla="*/ 955890 h 4614454"/>
              <a:gd name="connsiteX10" fmla="*/ 4093040 w 5025934"/>
              <a:gd name="connsiteY10" fmla="*/ 893662 h 4614454"/>
              <a:gd name="connsiteX11" fmla="*/ 4051900 w 5025934"/>
              <a:gd name="connsiteY11" fmla="*/ 852522 h 4614454"/>
              <a:gd name="connsiteX12" fmla="*/ 2734086 w 5025934"/>
              <a:gd name="connsiteY12" fmla="*/ 852560 h 4614454"/>
              <a:gd name="connsiteX13" fmla="*/ 2734086 w 5025934"/>
              <a:gd name="connsiteY13" fmla="*/ 742117 h 4614454"/>
              <a:gd name="connsiteX14" fmla="*/ 2692946 w 5025934"/>
              <a:gd name="connsiteY14" fmla="*/ 700977 h 4614454"/>
              <a:gd name="connsiteX15" fmla="*/ 2600409 w 5025934"/>
              <a:gd name="connsiteY15" fmla="*/ 700977 h 4614454"/>
              <a:gd name="connsiteX16" fmla="*/ 2729379 w 5025934"/>
              <a:gd name="connsiteY16" fmla="*/ 531673 h 4614454"/>
              <a:gd name="connsiteX17" fmla="*/ 2735043 w 5025934"/>
              <a:gd name="connsiteY17" fmla="*/ 491833 h 4614454"/>
              <a:gd name="connsiteX18" fmla="*/ 2555745 w 5025934"/>
              <a:gd name="connsiteY18" fmla="*/ 31142 h 4614454"/>
              <a:gd name="connsiteX19" fmla="*/ 2479052 w 5025934"/>
              <a:gd name="connsiteY19" fmla="*/ 31142 h 4614454"/>
              <a:gd name="connsiteX20" fmla="*/ 2299794 w 5025934"/>
              <a:gd name="connsiteY20" fmla="*/ 491833 h 4614454"/>
              <a:gd name="connsiteX21" fmla="*/ 2305458 w 5025934"/>
              <a:gd name="connsiteY21" fmla="*/ 531673 h 4614454"/>
              <a:gd name="connsiteX22" fmla="*/ 2434388 w 5025934"/>
              <a:gd name="connsiteY22" fmla="*/ 700977 h 4614454"/>
              <a:gd name="connsiteX23" fmla="*/ 2341775 w 5025934"/>
              <a:gd name="connsiteY23" fmla="*/ 700977 h 4614454"/>
              <a:gd name="connsiteX24" fmla="*/ 2300635 w 5025934"/>
              <a:gd name="connsiteY24" fmla="*/ 742117 h 4614454"/>
              <a:gd name="connsiteX25" fmla="*/ 2300635 w 5025934"/>
              <a:gd name="connsiteY25" fmla="*/ 852560 h 4614454"/>
              <a:gd name="connsiteX26" fmla="*/ 982821 w 5025934"/>
              <a:gd name="connsiteY26" fmla="*/ 852560 h 4614454"/>
              <a:gd name="connsiteX27" fmla="*/ 941681 w 5025934"/>
              <a:gd name="connsiteY27" fmla="*/ 893701 h 4614454"/>
              <a:gd name="connsiteX28" fmla="*/ 907391 w 5025934"/>
              <a:gd name="connsiteY28" fmla="*/ 958721 h 4614454"/>
              <a:gd name="connsiteX29" fmla="*/ 900426 w 5025934"/>
              <a:gd name="connsiteY29" fmla="*/ 939701 h 4614454"/>
              <a:gd name="connsiteX30" fmla="*/ 861735 w 5025934"/>
              <a:gd name="connsiteY30" fmla="*/ 912644 h 4614454"/>
              <a:gd name="connsiteX31" fmla="*/ 823044 w 5025934"/>
              <a:gd name="connsiteY31" fmla="*/ 939701 h 4614454"/>
              <a:gd name="connsiteX32" fmla="*/ 816576 w 5025934"/>
              <a:gd name="connsiteY32" fmla="*/ 957497 h 4614454"/>
              <a:gd name="connsiteX33" fmla="*/ 783778 w 5025934"/>
              <a:gd name="connsiteY33" fmla="*/ 893701 h 4614454"/>
              <a:gd name="connsiteX34" fmla="*/ 701498 w 5025934"/>
              <a:gd name="connsiteY34" fmla="*/ 893701 h 4614454"/>
              <a:gd name="connsiteX35" fmla="*/ 788065 w 5025934"/>
              <a:gd name="connsiteY35" fmla="*/ 1035798 h 4614454"/>
              <a:gd name="connsiteX36" fmla="*/ 183395 w 5025934"/>
              <a:gd name="connsiteY36" fmla="*/ 2693867 h 4614454"/>
              <a:gd name="connsiteX37" fmla="*/ 48488 w 5025934"/>
              <a:gd name="connsiteY37" fmla="*/ 2693867 h 4614454"/>
              <a:gd name="connsiteX38" fmla="*/ 7348 w 5025934"/>
              <a:gd name="connsiteY38" fmla="*/ 2735007 h 4614454"/>
              <a:gd name="connsiteX39" fmla="*/ 864059 w 5025934"/>
              <a:gd name="connsiteY39" fmla="*/ 3180052 h 4614454"/>
              <a:gd name="connsiteX40" fmla="*/ 1720662 w 5025934"/>
              <a:gd name="connsiteY40" fmla="*/ 2735007 h 4614454"/>
              <a:gd name="connsiteX41" fmla="*/ 1679522 w 5025934"/>
              <a:gd name="connsiteY41" fmla="*/ 2693867 h 4614454"/>
              <a:gd name="connsiteX42" fmla="*/ 1540256 w 5025934"/>
              <a:gd name="connsiteY42" fmla="*/ 2693867 h 4614454"/>
              <a:gd name="connsiteX43" fmla="*/ 935929 w 5025934"/>
              <a:gd name="connsiteY43" fmla="*/ 1036974 h 4614454"/>
              <a:gd name="connsiteX44" fmla="*/ 1018669 w 5025934"/>
              <a:gd name="connsiteY44" fmla="*/ 934829 h 4614454"/>
              <a:gd name="connsiteX45" fmla="*/ 2300625 w 5025934"/>
              <a:gd name="connsiteY45" fmla="*/ 934829 h 4614454"/>
              <a:gd name="connsiteX46" fmla="*/ 2300625 w 5025934"/>
              <a:gd name="connsiteY46" fmla="*/ 1045272 h 4614454"/>
              <a:gd name="connsiteX47" fmla="*/ 2341765 w 5025934"/>
              <a:gd name="connsiteY47" fmla="*/ 1086412 h 4614454"/>
              <a:gd name="connsiteX48" fmla="*/ 2371731 w 5025934"/>
              <a:gd name="connsiteY48" fmla="*/ 1086412 h 4614454"/>
              <a:gd name="connsiteX49" fmla="*/ 2371731 w 5025934"/>
              <a:gd name="connsiteY49" fmla="*/ 3776904 h 4614454"/>
              <a:gd name="connsiteX50" fmla="*/ 2319492 w 5025934"/>
              <a:gd name="connsiteY50" fmla="*/ 3776904 h 4614454"/>
              <a:gd name="connsiteX51" fmla="*/ 2278352 w 5025934"/>
              <a:gd name="connsiteY51" fmla="*/ 3818044 h 4614454"/>
              <a:gd name="connsiteX52" fmla="*/ 2278352 w 5025934"/>
              <a:gd name="connsiteY52" fmla="*/ 3958653 h 4614454"/>
              <a:gd name="connsiteX53" fmla="*/ 1977472 w 5025934"/>
              <a:gd name="connsiteY53" fmla="*/ 3958653 h 4614454"/>
              <a:gd name="connsiteX54" fmla="*/ 1632201 w 5025934"/>
              <a:gd name="connsiteY54" fmla="*/ 4296007 h 4614454"/>
              <a:gd name="connsiteX55" fmla="*/ 1439129 w 5025934"/>
              <a:gd name="connsiteY55" fmla="*/ 4296007 h 4614454"/>
              <a:gd name="connsiteX56" fmla="*/ 1397989 w 5025934"/>
              <a:gd name="connsiteY56" fmla="*/ 4337148 h 4614454"/>
              <a:gd name="connsiteX57" fmla="*/ 1397989 w 5025934"/>
              <a:gd name="connsiteY57" fmla="*/ 4573504 h 4614454"/>
              <a:gd name="connsiteX58" fmla="*/ 1439129 w 5025934"/>
              <a:gd name="connsiteY58" fmla="*/ 4614644 h 4614454"/>
              <a:gd name="connsiteX59" fmla="*/ 3595480 w 5025934"/>
              <a:gd name="connsiteY59" fmla="*/ 4614644 h 4614454"/>
              <a:gd name="connsiteX60" fmla="*/ 3636620 w 5025934"/>
              <a:gd name="connsiteY60" fmla="*/ 4573504 h 4614454"/>
              <a:gd name="connsiteX61" fmla="*/ 3636620 w 5025934"/>
              <a:gd name="connsiteY61" fmla="*/ 4337148 h 4614454"/>
              <a:gd name="connsiteX62" fmla="*/ 3595480 w 5025934"/>
              <a:gd name="connsiteY62" fmla="*/ 4296007 h 4614454"/>
              <a:gd name="connsiteX63" fmla="*/ 3402290 w 5025934"/>
              <a:gd name="connsiteY63" fmla="*/ 4296007 h 4614454"/>
              <a:gd name="connsiteX64" fmla="*/ 3057098 w 5025934"/>
              <a:gd name="connsiteY64" fmla="*/ 3958653 h 4614454"/>
              <a:gd name="connsiteX65" fmla="*/ 2756218 w 5025934"/>
              <a:gd name="connsiteY65" fmla="*/ 3958653 h 4614454"/>
              <a:gd name="connsiteX66" fmla="*/ 2756256 w 5025934"/>
              <a:gd name="connsiteY66" fmla="*/ 3818044 h 4614454"/>
              <a:gd name="connsiteX67" fmla="*/ 2715116 w 5025934"/>
              <a:gd name="connsiteY67" fmla="*/ 3776904 h 4614454"/>
              <a:gd name="connsiteX68" fmla="*/ 2662954 w 5025934"/>
              <a:gd name="connsiteY68" fmla="*/ 3776904 h 4614454"/>
              <a:gd name="connsiteX69" fmla="*/ 2662954 w 5025934"/>
              <a:gd name="connsiteY69" fmla="*/ 1086412 h 4614454"/>
              <a:gd name="connsiteX70" fmla="*/ 2692919 w 5025934"/>
              <a:gd name="connsiteY70" fmla="*/ 1086412 h 4614454"/>
              <a:gd name="connsiteX71" fmla="*/ 2734060 w 5025934"/>
              <a:gd name="connsiteY71" fmla="*/ 1045272 h 4614454"/>
              <a:gd name="connsiteX72" fmla="*/ 2734060 w 5025934"/>
              <a:gd name="connsiteY72" fmla="*/ 934829 h 4614454"/>
              <a:gd name="connsiteX73" fmla="*/ 4016016 w 5025934"/>
              <a:gd name="connsiteY73" fmla="*/ 934829 h 4614454"/>
              <a:gd name="connsiteX74" fmla="*/ 4094929 w 5025934"/>
              <a:gd name="connsiteY74" fmla="*/ 1035289 h 4614454"/>
              <a:gd name="connsiteX75" fmla="*/ 3490112 w 5025934"/>
              <a:gd name="connsiteY75" fmla="*/ 2693847 h 4614454"/>
              <a:gd name="connsiteX76" fmla="*/ 3355205 w 5025934"/>
              <a:gd name="connsiteY76" fmla="*/ 2693847 h 4614454"/>
              <a:gd name="connsiteX77" fmla="*/ 3314065 w 5025934"/>
              <a:gd name="connsiteY77" fmla="*/ 2734987 h 4614454"/>
              <a:gd name="connsiteX78" fmla="*/ 4170776 w 5025934"/>
              <a:gd name="connsiteY78" fmla="*/ 3179993 h 4614454"/>
              <a:gd name="connsiteX79" fmla="*/ 5027301 w 5025934"/>
              <a:gd name="connsiteY79" fmla="*/ 2734987 h 4614454"/>
              <a:gd name="connsiteX80" fmla="*/ 4986238 w 5025934"/>
              <a:gd name="connsiteY80" fmla="*/ 2693847 h 4614454"/>
              <a:gd name="connsiteX81" fmla="*/ 2517342 w 5025934"/>
              <a:gd name="connsiteY81" fmla="*/ 159512 h 4614454"/>
              <a:gd name="connsiteX82" fmla="*/ 2649907 w 5025934"/>
              <a:gd name="connsiteY82" fmla="*/ 500159 h 4614454"/>
              <a:gd name="connsiteX83" fmla="*/ 2517342 w 5025934"/>
              <a:gd name="connsiteY83" fmla="*/ 674215 h 4614454"/>
              <a:gd name="connsiteX84" fmla="*/ 2384855 w 5025934"/>
              <a:gd name="connsiteY84" fmla="*/ 500198 h 4614454"/>
              <a:gd name="connsiteX85" fmla="*/ 820575 w 5025934"/>
              <a:gd name="connsiteY85" fmla="*/ 1186743 h 4614454"/>
              <a:gd name="connsiteX86" fmla="*/ 820575 w 5025934"/>
              <a:gd name="connsiteY86" fmla="*/ 2693935 h 4614454"/>
              <a:gd name="connsiteX87" fmla="*/ 271053 w 5025934"/>
              <a:gd name="connsiteY87" fmla="*/ 2693935 h 4614454"/>
              <a:gd name="connsiteX88" fmla="*/ 864011 w 5025934"/>
              <a:gd name="connsiteY88" fmla="*/ 3097773 h 4614454"/>
              <a:gd name="connsiteX89" fmla="*/ 94740 w 5025934"/>
              <a:gd name="connsiteY89" fmla="*/ 2776153 h 4614454"/>
              <a:gd name="connsiteX90" fmla="*/ 1633087 w 5025934"/>
              <a:gd name="connsiteY90" fmla="*/ 2776153 h 4614454"/>
              <a:gd name="connsiteX91" fmla="*/ 864011 w 5025934"/>
              <a:gd name="connsiteY91" fmla="*/ 3097773 h 4614454"/>
              <a:gd name="connsiteX92" fmla="*/ 902855 w 5025934"/>
              <a:gd name="connsiteY92" fmla="*/ 2693867 h 4614454"/>
              <a:gd name="connsiteX93" fmla="*/ 902855 w 5025934"/>
              <a:gd name="connsiteY93" fmla="*/ 1186674 h 4614454"/>
              <a:gd name="connsiteX94" fmla="*/ 1452524 w 5025934"/>
              <a:gd name="connsiteY94" fmla="*/ 2693867 h 4614454"/>
              <a:gd name="connsiteX95" fmla="*/ 3554354 w 5025934"/>
              <a:gd name="connsiteY95" fmla="*/ 4378388 h 4614454"/>
              <a:gd name="connsiteX96" fmla="*/ 3554354 w 5025934"/>
              <a:gd name="connsiteY96" fmla="*/ 4532467 h 4614454"/>
              <a:gd name="connsiteX97" fmla="*/ 1480299 w 5025934"/>
              <a:gd name="connsiteY97" fmla="*/ 4532429 h 4614454"/>
              <a:gd name="connsiteX98" fmla="*/ 1480299 w 5025934"/>
              <a:gd name="connsiteY98" fmla="*/ 4378349 h 4614454"/>
              <a:gd name="connsiteX99" fmla="*/ 3361448 w 5025934"/>
              <a:gd name="connsiteY99" fmla="*/ 4378349 h 4614454"/>
              <a:gd name="connsiteX100" fmla="*/ 2673953 w 5025934"/>
              <a:gd name="connsiteY100" fmla="*/ 3859256 h 4614454"/>
              <a:gd name="connsiteX101" fmla="*/ 2673953 w 5025934"/>
              <a:gd name="connsiteY101" fmla="*/ 3999865 h 4614454"/>
              <a:gd name="connsiteX102" fmla="*/ 2715093 w 5025934"/>
              <a:gd name="connsiteY102" fmla="*/ 4041005 h 4614454"/>
              <a:gd name="connsiteX103" fmla="*/ 3057112 w 5025934"/>
              <a:gd name="connsiteY103" fmla="*/ 4041005 h 4614454"/>
              <a:gd name="connsiteX104" fmla="*/ 3319303 w 5025934"/>
              <a:gd name="connsiteY104" fmla="*/ 4296074 h 4614454"/>
              <a:gd name="connsiteX105" fmla="*/ 1715216 w 5025934"/>
              <a:gd name="connsiteY105" fmla="*/ 4296112 h 4614454"/>
              <a:gd name="connsiteX106" fmla="*/ 1977486 w 5025934"/>
              <a:gd name="connsiteY106" fmla="*/ 4041044 h 4614454"/>
              <a:gd name="connsiteX107" fmla="*/ 2319465 w 5025934"/>
              <a:gd name="connsiteY107" fmla="*/ 4041044 h 4614454"/>
              <a:gd name="connsiteX108" fmla="*/ 2360605 w 5025934"/>
              <a:gd name="connsiteY108" fmla="*/ 3999904 h 4614454"/>
              <a:gd name="connsiteX109" fmla="*/ 2360567 w 5025934"/>
              <a:gd name="connsiteY109" fmla="*/ 3859265 h 4614454"/>
              <a:gd name="connsiteX110" fmla="*/ 2412805 w 5025934"/>
              <a:gd name="connsiteY110" fmla="*/ 3859265 h 4614454"/>
              <a:gd name="connsiteX111" fmla="*/ 2453946 w 5025934"/>
              <a:gd name="connsiteY111" fmla="*/ 3818125 h 4614454"/>
              <a:gd name="connsiteX112" fmla="*/ 2453946 w 5025934"/>
              <a:gd name="connsiteY112" fmla="*/ 1045338 h 4614454"/>
              <a:gd name="connsiteX113" fmla="*/ 2412805 w 5025934"/>
              <a:gd name="connsiteY113" fmla="*/ 1004198 h 4614454"/>
              <a:gd name="connsiteX114" fmla="*/ 2382916 w 5025934"/>
              <a:gd name="connsiteY114" fmla="*/ 1004198 h 4614454"/>
              <a:gd name="connsiteX115" fmla="*/ 2382916 w 5025934"/>
              <a:gd name="connsiteY115" fmla="*/ 783380 h 4614454"/>
              <a:gd name="connsiteX116" fmla="*/ 2651760 w 5025934"/>
              <a:gd name="connsiteY116" fmla="*/ 783380 h 4614454"/>
              <a:gd name="connsiteX117" fmla="*/ 2651760 w 5025934"/>
              <a:gd name="connsiteY117" fmla="*/ 1004198 h 4614454"/>
              <a:gd name="connsiteX118" fmla="*/ 2621794 w 5025934"/>
              <a:gd name="connsiteY118" fmla="*/ 1004198 h 4614454"/>
              <a:gd name="connsiteX119" fmla="*/ 2580654 w 5025934"/>
              <a:gd name="connsiteY119" fmla="*/ 1045338 h 4614454"/>
              <a:gd name="connsiteX120" fmla="*/ 2580654 w 5025934"/>
              <a:gd name="connsiteY120" fmla="*/ 3818125 h 4614454"/>
              <a:gd name="connsiteX121" fmla="*/ 2621794 w 5025934"/>
              <a:gd name="connsiteY121" fmla="*/ 3859265 h 4614454"/>
              <a:gd name="connsiteX122" fmla="*/ 4209656 w 5025934"/>
              <a:gd name="connsiteY122" fmla="*/ 1186694 h 4614454"/>
              <a:gd name="connsiteX123" fmla="*/ 4759442 w 5025934"/>
              <a:gd name="connsiteY123" fmla="*/ 2693886 h 4614454"/>
              <a:gd name="connsiteX124" fmla="*/ 4209656 w 5025934"/>
              <a:gd name="connsiteY124" fmla="*/ 2693886 h 4614454"/>
              <a:gd name="connsiteX125" fmla="*/ 4127337 w 5025934"/>
              <a:gd name="connsiteY125" fmla="*/ 1186694 h 4614454"/>
              <a:gd name="connsiteX126" fmla="*/ 4127337 w 5025934"/>
              <a:gd name="connsiteY126" fmla="*/ 2693886 h 4614454"/>
              <a:gd name="connsiteX127" fmla="*/ 3577737 w 5025934"/>
              <a:gd name="connsiteY127" fmla="*/ 2693886 h 4614454"/>
              <a:gd name="connsiteX128" fmla="*/ 4170850 w 5025934"/>
              <a:gd name="connsiteY128" fmla="*/ 3097822 h 4614454"/>
              <a:gd name="connsiteX129" fmla="*/ 3401578 w 5025934"/>
              <a:gd name="connsiteY129" fmla="*/ 2776202 h 4614454"/>
              <a:gd name="connsiteX130" fmla="*/ 4939828 w 5025934"/>
              <a:gd name="connsiteY130" fmla="*/ 2776202 h 4614454"/>
              <a:gd name="connsiteX131" fmla="*/ 4170869 w 5025934"/>
              <a:gd name="connsiteY131" fmla="*/ 3097822 h 4614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5025934" h="4614454">
                <a:moveTo>
                  <a:pt x="4986222" y="2693935"/>
                </a:moveTo>
                <a:lnTo>
                  <a:pt x="4847034" y="2693935"/>
                </a:lnTo>
                <a:lnTo>
                  <a:pt x="4242982" y="1037826"/>
                </a:lnTo>
                <a:cubicBezTo>
                  <a:pt x="4296254" y="1011496"/>
                  <a:pt x="4333299" y="957076"/>
                  <a:pt x="4333299" y="893740"/>
                </a:cubicBezTo>
                <a:lnTo>
                  <a:pt x="4251019" y="893740"/>
                </a:lnTo>
                <a:cubicBezTo>
                  <a:pt x="4251019" y="921601"/>
                  <a:pt x="4236438" y="945978"/>
                  <a:pt x="4214585" y="960023"/>
                </a:cubicBezTo>
                <a:lnTo>
                  <a:pt x="4207161" y="939664"/>
                </a:lnTo>
                <a:cubicBezTo>
                  <a:pt x="4201306" y="923438"/>
                  <a:pt x="4185768" y="912607"/>
                  <a:pt x="4168470" y="912607"/>
                </a:cubicBezTo>
                <a:cubicBezTo>
                  <a:pt x="4151249" y="912607"/>
                  <a:pt x="4135711" y="923399"/>
                  <a:pt x="4129779" y="939664"/>
                </a:cubicBezTo>
                <a:lnTo>
                  <a:pt x="4123924" y="955890"/>
                </a:lnTo>
                <a:cubicBezTo>
                  <a:pt x="4105287" y="941461"/>
                  <a:pt x="4093040" y="919074"/>
                  <a:pt x="4093040" y="893662"/>
                </a:cubicBezTo>
                <a:cubicBezTo>
                  <a:pt x="4093040" y="870930"/>
                  <a:pt x="4074594" y="852522"/>
                  <a:pt x="4051900" y="852522"/>
                </a:cubicBezTo>
                <a:lnTo>
                  <a:pt x="2734086" y="852560"/>
                </a:lnTo>
                <a:lnTo>
                  <a:pt x="2734086" y="742117"/>
                </a:lnTo>
                <a:cubicBezTo>
                  <a:pt x="2734086" y="719385"/>
                  <a:pt x="2715640" y="700977"/>
                  <a:pt x="2692946" y="700977"/>
                </a:cubicBezTo>
                <a:lnTo>
                  <a:pt x="2600409" y="700977"/>
                </a:lnTo>
                <a:lnTo>
                  <a:pt x="2729379" y="531673"/>
                </a:lnTo>
                <a:cubicBezTo>
                  <a:pt x="2737990" y="520306"/>
                  <a:pt x="2740133" y="505228"/>
                  <a:pt x="2735043" y="491833"/>
                </a:cubicBezTo>
                <a:lnTo>
                  <a:pt x="2555745" y="31142"/>
                </a:lnTo>
                <a:cubicBezTo>
                  <a:pt x="2543384" y="-584"/>
                  <a:pt x="2491337" y="-584"/>
                  <a:pt x="2479052" y="31142"/>
                </a:cubicBezTo>
                <a:lnTo>
                  <a:pt x="2299794" y="491833"/>
                </a:lnTo>
                <a:cubicBezTo>
                  <a:pt x="2294589" y="505152"/>
                  <a:pt x="2296732" y="520268"/>
                  <a:pt x="2305458" y="531673"/>
                </a:cubicBezTo>
                <a:lnTo>
                  <a:pt x="2434388" y="700977"/>
                </a:lnTo>
                <a:lnTo>
                  <a:pt x="2341775" y="700977"/>
                </a:lnTo>
                <a:cubicBezTo>
                  <a:pt x="2319043" y="700977"/>
                  <a:pt x="2300635" y="719423"/>
                  <a:pt x="2300635" y="742117"/>
                </a:cubicBezTo>
                <a:lnTo>
                  <a:pt x="2300635" y="852560"/>
                </a:lnTo>
                <a:lnTo>
                  <a:pt x="982821" y="852560"/>
                </a:lnTo>
                <a:cubicBezTo>
                  <a:pt x="960089" y="852560"/>
                  <a:pt x="941681" y="871006"/>
                  <a:pt x="941681" y="893701"/>
                </a:cubicBezTo>
                <a:cubicBezTo>
                  <a:pt x="941681" y="920681"/>
                  <a:pt x="928057" y="944447"/>
                  <a:pt x="907391" y="958721"/>
                </a:cubicBezTo>
                <a:lnTo>
                  <a:pt x="900426" y="939701"/>
                </a:lnTo>
                <a:cubicBezTo>
                  <a:pt x="894494" y="923475"/>
                  <a:pt x="879033" y="912644"/>
                  <a:pt x="861735" y="912644"/>
                </a:cubicBezTo>
                <a:cubicBezTo>
                  <a:pt x="844437" y="912644"/>
                  <a:pt x="828975" y="923437"/>
                  <a:pt x="823044" y="939701"/>
                </a:cubicBezTo>
                <a:lnTo>
                  <a:pt x="816576" y="957497"/>
                </a:lnTo>
                <a:cubicBezTo>
                  <a:pt x="796753" y="943107"/>
                  <a:pt x="783778" y="919954"/>
                  <a:pt x="783778" y="893701"/>
                </a:cubicBezTo>
                <a:lnTo>
                  <a:pt x="701498" y="893701"/>
                </a:lnTo>
                <a:cubicBezTo>
                  <a:pt x="701498" y="955545"/>
                  <a:pt x="736898" y="1008739"/>
                  <a:pt x="788065" y="1035798"/>
                </a:cubicBezTo>
                <a:lnTo>
                  <a:pt x="183395" y="2693867"/>
                </a:lnTo>
                <a:lnTo>
                  <a:pt x="48488" y="2693867"/>
                </a:lnTo>
                <a:cubicBezTo>
                  <a:pt x="25756" y="2693867"/>
                  <a:pt x="7348" y="2712313"/>
                  <a:pt x="7348" y="2735007"/>
                </a:cubicBezTo>
                <a:cubicBezTo>
                  <a:pt x="7348" y="2984570"/>
                  <a:pt x="383656" y="3180052"/>
                  <a:pt x="864059" y="3180052"/>
                </a:cubicBezTo>
                <a:cubicBezTo>
                  <a:pt x="1344384" y="3180052"/>
                  <a:pt x="1720662" y="2984570"/>
                  <a:pt x="1720662" y="2735007"/>
                </a:cubicBezTo>
                <a:cubicBezTo>
                  <a:pt x="1720662" y="2712275"/>
                  <a:pt x="1702217" y="2693867"/>
                  <a:pt x="1679522" y="2693867"/>
                </a:cubicBezTo>
                <a:lnTo>
                  <a:pt x="1540256" y="2693867"/>
                </a:lnTo>
                <a:lnTo>
                  <a:pt x="935929" y="1036974"/>
                </a:lnTo>
                <a:cubicBezTo>
                  <a:pt x="976189" y="1016308"/>
                  <a:pt x="1006882" y="979492"/>
                  <a:pt x="1018669" y="934829"/>
                </a:cubicBezTo>
                <a:lnTo>
                  <a:pt x="2300625" y="934829"/>
                </a:lnTo>
                <a:lnTo>
                  <a:pt x="2300625" y="1045272"/>
                </a:lnTo>
                <a:cubicBezTo>
                  <a:pt x="2300625" y="1068004"/>
                  <a:pt x="2319071" y="1086412"/>
                  <a:pt x="2341765" y="1086412"/>
                </a:cubicBezTo>
                <a:lnTo>
                  <a:pt x="2371731" y="1086412"/>
                </a:lnTo>
                <a:lnTo>
                  <a:pt x="2371731" y="3776904"/>
                </a:lnTo>
                <a:lnTo>
                  <a:pt x="2319492" y="3776904"/>
                </a:lnTo>
                <a:cubicBezTo>
                  <a:pt x="2296760" y="3776904"/>
                  <a:pt x="2278352" y="3795388"/>
                  <a:pt x="2278352" y="3818044"/>
                </a:cubicBezTo>
                <a:lnTo>
                  <a:pt x="2278352" y="3958653"/>
                </a:lnTo>
                <a:lnTo>
                  <a:pt x="1977472" y="3958653"/>
                </a:lnTo>
                <a:cubicBezTo>
                  <a:pt x="1789720" y="3958653"/>
                  <a:pt x="1636443" y="4109244"/>
                  <a:pt x="1632201" y="4296007"/>
                </a:cubicBezTo>
                <a:lnTo>
                  <a:pt x="1439129" y="4296007"/>
                </a:lnTo>
                <a:cubicBezTo>
                  <a:pt x="1416397" y="4296007"/>
                  <a:pt x="1397989" y="4314454"/>
                  <a:pt x="1397989" y="4337148"/>
                </a:cubicBezTo>
                <a:lnTo>
                  <a:pt x="1397989" y="4573504"/>
                </a:lnTo>
                <a:cubicBezTo>
                  <a:pt x="1397989" y="4596159"/>
                  <a:pt x="1416435" y="4614644"/>
                  <a:pt x="1439129" y="4614644"/>
                </a:cubicBezTo>
                <a:lnTo>
                  <a:pt x="3595480" y="4614644"/>
                </a:lnTo>
                <a:cubicBezTo>
                  <a:pt x="3618212" y="4614644"/>
                  <a:pt x="3636620" y="4596159"/>
                  <a:pt x="3636620" y="4573504"/>
                </a:cubicBezTo>
                <a:lnTo>
                  <a:pt x="3636620" y="4337148"/>
                </a:lnTo>
                <a:cubicBezTo>
                  <a:pt x="3636620" y="4314415"/>
                  <a:pt x="3618174" y="4296007"/>
                  <a:pt x="3595480" y="4296007"/>
                </a:cubicBezTo>
                <a:lnTo>
                  <a:pt x="3402290" y="4296007"/>
                </a:lnTo>
                <a:cubicBezTo>
                  <a:pt x="3398081" y="4109254"/>
                  <a:pt x="3244850" y="3958653"/>
                  <a:pt x="3057098" y="3958653"/>
                </a:cubicBezTo>
                <a:lnTo>
                  <a:pt x="2756218" y="3958653"/>
                </a:lnTo>
                <a:lnTo>
                  <a:pt x="2756256" y="3818044"/>
                </a:lnTo>
                <a:cubicBezTo>
                  <a:pt x="2756256" y="3795388"/>
                  <a:pt x="2737810" y="3776904"/>
                  <a:pt x="2715116" y="3776904"/>
                </a:cubicBezTo>
                <a:lnTo>
                  <a:pt x="2662954" y="3776904"/>
                </a:lnTo>
                <a:lnTo>
                  <a:pt x="2662954" y="1086412"/>
                </a:lnTo>
                <a:lnTo>
                  <a:pt x="2692919" y="1086412"/>
                </a:lnTo>
                <a:cubicBezTo>
                  <a:pt x="2715652" y="1086412"/>
                  <a:pt x="2734060" y="1067966"/>
                  <a:pt x="2734060" y="1045272"/>
                </a:cubicBezTo>
                <a:lnTo>
                  <a:pt x="2734060" y="934829"/>
                </a:lnTo>
                <a:lnTo>
                  <a:pt x="4016016" y="934829"/>
                </a:lnTo>
                <a:cubicBezTo>
                  <a:pt x="4027497" y="978113"/>
                  <a:pt x="4056505" y="1014278"/>
                  <a:pt x="4094929" y="1035289"/>
                </a:cubicBezTo>
                <a:lnTo>
                  <a:pt x="3490112" y="2693847"/>
                </a:lnTo>
                <a:lnTo>
                  <a:pt x="3355205" y="2693847"/>
                </a:lnTo>
                <a:cubicBezTo>
                  <a:pt x="3332473" y="2693847"/>
                  <a:pt x="3314065" y="2712293"/>
                  <a:pt x="3314065" y="2734987"/>
                </a:cubicBezTo>
                <a:cubicBezTo>
                  <a:pt x="3314065" y="2984550"/>
                  <a:pt x="3690373" y="3179993"/>
                  <a:pt x="4170776" y="3179993"/>
                </a:cubicBezTo>
                <a:cubicBezTo>
                  <a:pt x="4651179" y="3179993"/>
                  <a:pt x="5027301" y="2984511"/>
                  <a:pt x="5027301" y="2734987"/>
                </a:cubicBezTo>
                <a:cubicBezTo>
                  <a:pt x="5027378" y="2712217"/>
                  <a:pt x="5008970" y="2693847"/>
                  <a:pt x="4986238" y="2693847"/>
                </a:cubicBezTo>
                <a:close/>
                <a:moveTo>
                  <a:pt x="2517342" y="159512"/>
                </a:moveTo>
                <a:lnTo>
                  <a:pt x="2649907" y="500159"/>
                </a:lnTo>
                <a:lnTo>
                  <a:pt x="2517342" y="674215"/>
                </a:lnTo>
                <a:lnTo>
                  <a:pt x="2384855" y="500198"/>
                </a:lnTo>
                <a:close/>
                <a:moveTo>
                  <a:pt x="820575" y="1186743"/>
                </a:moveTo>
                <a:lnTo>
                  <a:pt x="820575" y="2693935"/>
                </a:lnTo>
                <a:lnTo>
                  <a:pt x="271053" y="2693935"/>
                </a:lnTo>
                <a:close/>
                <a:moveTo>
                  <a:pt x="864011" y="3097773"/>
                </a:moveTo>
                <a:cubicBezTo>
                  <a:pt x="473889" y="3097773"/>
                  <a:pt x="140022" y="2954373"/>
                  <a:pt x="94740" y="2776153"/>
                </a:cubicBezTo>
                <a:lnTo>
                  <a:pt x="1633087" y="2776153"/>
                </a:lnTo>
                <a:cubicBezTo>
                  <a:pt x="1587966" y="2954373"/>
                  <a:pt x="1254173" y="3097773"/>
                  <a:pt x="864011" y="3097773"/>
                </a:cubicBezTo>
                <a:close/>
                <a:moveTo>
                  <a:pt x="902855" y="2693867"/>
                </a:moveTo>
                <a:lnTo>
                  <a:pt x="902855" y="1186674"/>
                </a:lnTo>
                <a:lnTo>
                  <a:pt x="1452524" y="2693867"/>
                </a:lnTo>
                <a:close/>
                <a:moveTo>
                  <a:pt x="3554354" y="4378388"/>
                </a:moveTo>
                <a:lnTo>
                  <a:pt x="3554354" y="4532467"/>
                </a:lnTo>
                <a:lnTo>
                  <a:pt x="1480299" y="4532429"/>
                </a:lnTo>
                <a:lnTo>
                  <a:pt x="1480299" y="4378349"/>
                </a:lnTo>
                <a:lnTo>
                  <a:pt x="3361448" y="4378349"/>
                </a:lnTo>
                <a:close/>
                <a:moveTo>
                  <a:pt x="2673953" y="3859256"/>
                </a:moveTo>
                <a:lnTo>
                  <a:pt x="2673953" y="3999865"/>
                </a:lnTo>
                <a:cubicBezTo>
                  <a:pt x="2673953" y="4022521"/>
                  <a:pt x="2692399" y="4041005"/>
                  <a:pt x="2715093" y="4041005"/>
                </a:cubicBezTo>
                <a:lnTo>
                  <a:pt x="3057112" y="4041005"/>
                </a:lnTo>
                <a:cubicBezTo>
                  <a:pt x="3199435" y="4041005"/>
                  <a:pt x="3314973" y="4154740"/>
                  <a:pt x="3319303" y="4296074"/>
                </a:cubicBezTo>
                <a:lnTo>
                  <a:pt x="1715216" y="4296112"/>
                </a:lnTo>
                <a:cubicBezTo>
                  <a:pt x="1719541" y="4154779"/>
                  <a:pt x="1835153" y="4041044"/>
                  <a:pt x="1977486" y="4041044"/>
                </a:cubicBezTo>
                <a:lnTo>
                  <a:pt x="2319465" y="4041044"/>
                </a:lnTo>
                <a:cubicBezTo>
                  <a:pt x="2342197" y="4041044"/>
                  <a:pt x="2360605" y="4022559"/>
                  <a:pt x="2360605" y="3999904"/>
                </a:cubicBezTo>
                <a:lnTo>
                  <a:pt x="2360567" y="3859265"/>
                </a:lnTo>
                <a:lnTo>
                  <a:pt x="2412805" y="3859265"/>
                </a:lnTo>
                <a:cubicBezTo>
                  <a:pt x="2435538" y="3859265"/>
                  <a:pt x="2453946" y="3840819"/>
                  <a:pt x="2453946" y="3818125"/>
                </a:cubicBezTo>
                <a:lnTo>
                  <a:pt x="2453946" y="1045338"/>
                </a:lnTo>
                <a:cubicBezTo>
                  <a:pt x="2453946" y="1022605"/>
                  <a:pt x="2435500" y="1004198"/>
                  <a:pt x="2412805" y="1004198"/>
                </a:cubicBezTo>
                <a:lnTo>
                  <a:pt x="2382916" y="1004198"/>
                </a:lnTo>
                <a:lnTo>
                  <a:pt x="2382916" y="783380"/>
                </a:lnTo>
                <a:lnTo>
                  <a:pt x="2651760" y="783380"/>
                </a:lnTo>
                <a:lnTo>
                  <a:pt x="2651760" y="1004198"/>
                </a:lnTo>
                <a:lnTo>
                  <a:pt x="2621794" y="1004198"/>
                </a:lnTo>
                <a:cubicBezTo>
                  <a:pt x="2599062" y="1004198"/>
                  <a:pt x="2580654" y="1022644"/>
                  <a:pt x="2580654" y="1045338"/>
                </a:cubicBezTo>
                <a:lnTo>
                  <a:pt x="2580654" y="3818125"/>
                </a:lnTo>
                <a:cubicBezTo>
                  <a:pt x="2580654" y="3840858"/>
                  <a:pt x="2599100" y="3859265"/>
                  <a:pt x="2621794" y="3859265"/>
                </a:cubicBezTo>
                <a:close/>
                <a:moveTo>
                  <a:pt x="4209656" y="1186694"/>
                </a:moveTo>
                <a:lnTo>
                  <a:pt x="4759442" y="2693886"/>
                </a:lnTo>
                <a:lnTo>
                  <a:pt x="4209656" y="2693886"/>
                </a:lnTo>
                <a:close/>
                <a:moveTo>
                  <a:pt x="4127337" y="1186694"/>
                </a:moveTo>
                <a:lnTo>
                  <a:pt x="4127337" y="2693886"/>
                </a:lnTo>
                <a:lnTo>
                  <a:pt x="3577737" y="2693886"/>
                </a:lnTo>
                <a:close/>
                <a:moveTo>
                  <a:pt x="4170850" y="3097822"/>
                </a:moveTo>
                <a:cubicBezTo>
                  <a:pt x="3780728" y="3097822"/>
                  <a:pt x="3446821" y="2954422"/>
                  <a:pt x="3401578" y="2776202"/>
                </a:cubicBezTo>
                <a:lnTo>
                  <a:pt x="4939828" y="2776202"/>
                </a:lnTo>
                <a:cubicBezTo>
                  <a:pt x="4894630" y="2954422"/>
                  <a:pt x="4560835" y="3097822"/>
                  <a:pt x="4170869" y="3097822"/>
                </a:cubicBezTo>
                <a:close/>
              </a:path>
            </a:pathLst>
          </a:custGeom>
          <a:solidFill>
            <a:srgbClr val="1F4CB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0A28387-F033-9920-2E77-218B6C9B8EF7}"/>
              </a:ext>
            </a:extLst>
          </p:cNvPr>
          <p:cNvSpPr txBox="1"/>
          <p:nvPr/>
        </p:nvSpPr>
        <p:spPr>
          <a:xfrm>
            <a:off x="1353940" y="7898645"/>
            <a:ext cx="2257493" cy="1442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IN" sz="1400" dirty="0">
                <a:latin typeface="Georgia" panose="02040502050405020303" pitchFamily="18" charset="0"/>
              </a:rPr>
              <a:t>A breakeven financial model is key for any business to see how long it takes for them to gain a solid foothold and how much money is required for the same.</a:t>
            </a:r>
            <a:endParaRPr lang="en-US" sz="1400" b="1" dirty="0">
              <a:solidFill>
                <a:srgbClr val="FF9629"/>
              </a:solidFill>
              <a:latin typeface="Georgia" panose="02040502050405020303" pitchFamily="18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309AE80-8569-48CF-A9F6-8A1ED31394D5}"/>
              </a:ext>
            </a:extLst>
          </p:cNvPr>
          <p:cNvGrpSpPr/>
          <p:nvPr/>
        </p:nvGrpSpPr>
        <p:grpSpPr>
          <a:xfrm>
            <a:off x="396272" y="7959838"/>
            <a:ext cx="692998" cy="757348"/>
            <a:chOff x="914379" y="1516652"/>
            <a:chExt cx="5026718" cy="5493485"/>
          </a:xfrm>
          <a:solidFill>
            <a:srgbClr val="1F4CB9"/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3746CD7-CF4A-44A9-86F9-43F29D323356}"/>
                </a:ext>
              </a:extLst>
            </p:cNvPr>
            <p:cNvSpPr/>
            <p:nvPr/>
          </p:nvSpPr>
          <p:spPr>
            <a:xfrm>
              <a:off x="4699983" y="1714163"/>
              <a:ext cx="715191" cy="1293223"/>
            </a:xfrm>
            <a:custGeom>
              <a:avLst/>
              <a:gdLst>
                <a:gd name="connsiteX0" fmla="*/ 358477 w 715191"/>
                <a:gd name="connsiteY0" fmla="*/ 1291165 h 1293222"/>
                <a:gd name="connsiteX1" fmla="*/ 7348 w 715191"/>
                <a:gd name="connsiteY1" fmla="*/ 940036 h 1293222"/>
                <a:gd name="connsiteX2" fmla="*/ 73173 w 715191"/>
                <a:gd name="connsiteY2" fmla="*/ 874211 h 1293222"/>
                <a:gd name="connsiteX3" fmla="*/ 138998 w 715191"/>
                <a:gd name="connsiteY3" fmla="*/ 940036 h 1293222"/>
                <a:gd name="connsiteX4" fmla="*/ 363950 w 715191"/>
                <a:gd name="connsiteY4" fmla="*/ 1164988 h 1293222"/>
                <a:gd name="connsiteX5" fmla="*/ 588902 w 715191"/>
                <a:gd name="connsiteY5" fmla="*/ 940036 h 1293222"/>
                <a:gd name="connsiteX6" fmla="*/ 342024 w 715191"/>
                <a:gd name="connsiteY6" fmla="*/ 709607 h 1293222"/>
                <a:gd name="connsiteX7" fmla="*/ 7354 w 715191"/>
                <a:gd name="connsiteY7" fmla="*/ 358477 h 1293222"/>
                <a:gd name="connsiteX8" fmla="*/ 358483 w 715191"/>
                <a:gd name="connsiteY8" fmla="*/ 7348 h 1293222"/>
                <a:gd name="connsiteX9" fmla="*/ 709613 w 715191"/>
                <a:gd name="connsiteY9" fmla="*/ 358477 h 1293222"/>
                <a:gd name="connsiteX10" fmla="*/ 643788 w 715191"/>
                <a:gd name="connsiteY10" fmla="*/ 424303 h 1293222"/>
                <a:gd name="connsiteX11" fmla="*/ 577963 w 715191"/>
                <a:gd name="connsiteY11" fmla="*/ 358477 h 1293222"/>
                <a:gd name="connsiteX12" fmla="*/ 358487 w 715191"/>
                <a:gd name="connsiteY12" fmla="*/ 139041 h 1293222"/>
                <a:gd name="connsiteX13" fmla="*/ 133535 w 715191"/>
                <a:gd name="connsiteY13" fmla="*/ 363993 h 1293222"/>
                <a:gd name="connsiteX14" fmla="*/ 380413 w 715191"/>
                <a:gd name="connsiteY14" fmla="*/ 594422 h 1293222"/>
                <a:gd name="connsiteX15" fmla="*/ 715084 w 715191"/>
                <a:gd name="connsiteY15" fmla="*/ 945552 h 1293222"/>
                <a:gd name="connsiteX16" fmla="*/ 358487 w 715191"/>
                <a:gd name="connsiteY16" fmla="*/ 1291165 h 129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15191" h="1293222">
                  <a:moveTo>
                    <a:pt x="358477" y="1291165"/>
                  </a:moveTo>
                  <a:cubicBezTo>
                    <a:pt x="166434" y="1291165"/>
                    <a:pt x="7348" y="1132080"/>
                    <a:pt x="7348" y="940036"/>
                  </a:cubicBezTo>
                  <a:cubicBezTo>
                    <a:pt x="7348" y="907123"/>
                    <a:pt x="34788" y="874211"/>
                    <a:pt x="73173" y="874211"/>
                  </a:cubicBezTo>
                  <a:cubicBezTo>
                    <a:pt x="106085" y="874211"/>
                    <a:pt x="138998" y="901651"/>
                    <a:pt x="138998" y="940036"/>
                  </a:cubicBezTo>
                  <a:cubicBezTo>
                    <a:pt x="138998" y="1066213"/>
                    <a:pt x="237734" y="1164988"/>
                    <a:pt x="363950" y="1164988"/>
                  </a:cubicBezTo>
                  <a:cubicBezTo>
                    <a:pt x="490128" y="1164988"/>
                    <a:pt x="588902" y="1066252"/>
                    <a:pt x="588902" y="940036"/>
                  </a:cubicBezTo>
                  <a:cubicBezTo>
                    <a:pt x="588902" y="830318"/>
                    <a:pt x="523077" y="769967"/>
                    <a:pt x="342024" y="709607"/>
                  </a:cubicBezTo>
                  <a:cubicBezTo>
                    <a:pt x="259744" y="682167"/>
                    <a:pt x="7354" y="599889"/>
                    <a:pt x="7354" y="358477"/>
                  </a:cubicBezTo>
                  <a:cubicBezTo>
                    <a:pt x="7354" y="166434"/>
                    <a:pt x="166440" y="7348"/>
                    <a:pt x="358483" y="7348"/>
                  </a:cubicBezTo>
                  <a:cubicBezTo>
                    <a:pt x="550527" y="7348"/>
                    <a:pt x="709613" y="166434"/>
                    <a:pt x="709613" y="358477"/>
                  </a:cubicBezTo>
                  <a:cubicBezTo>
                    <a:pt x="709613" y="391390"/>
                    <a:pt x="682173" y="424303"/>
                    <a:pt x="643788" y="424303"/>
                  </a:cubicBezTo>
                  <a:cubicBezTo>
                    <a:pt x="610875" y="424303"/>
                    <a:pt x="577963" y="396863"/>
                    <a:pt x="577963" y="358477"/>
                  </a:cubicBezTo>
                  <a:cubicBezTo>
                    <a:pt x="583436" y="237777"/>
                    <a:pt x="484660" y="139041"/>
                    <a:pt x="358487" y="139041"/>
                  </a:cubicBezTo>
                  <a:cubicBezTo>
                    <a:pt x="232310" y="139041"/>
                    <a:pt x="133535" y="237777"/>
                    <a:pt x="133535" y="363993"/>
                  </a:cubicBezTo>
                  <a:cubicBezTo>
                    <a:pt x="133535" y="468245"/>
                    <a:pt x="210343" y="539578"/>
                    <a:pt x="380413" y="594422"/>
                  </a:cubicBezTo>
                  <a:cubicBezTo>
                    <a:pt x="534033" y="643791"/>
                    <a:pt x="715084" y="731582"/>
                    <a:pt x="715084" y="945552"/>
                  </a:cubicBezTo>
                  <a:cubicBezTo>
                    <a:pt x="709611" y="1132080"/>
                    <a:pt x="550521" y="1291165"/>
                    <a:pt x="358487" y="129116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025EE3F-7443-4056-A303-0B27341E9ED0}"/>
                </a:ext>
              </a:extLst>
            </p:cNvPr>
            <p:cNvSpPr/>
            <p:nvPr/>
          </p:nvSpPr>
          <p:spPr>
            <a:xfrm>
              <a:off x="4985288" y="1549604"/>
              <a:ext cx="137160" cy="303711"/>
            </a:xfrm>
            <a:custGeom>
              <a:avLst/>
              <a:gdLst>
                <a:gd name="connsiteX0" fmla="*/ 73173 w 137160"/>
                <a:gd name="connsiteY0" fmla="*/ 303600 h 303711"/>
                <a:gd name="connsiteX1" fmla="*/ 7348 w 137160"/>
                <a:gd name="connsiteY1" fmla="*/ 237775 h 303711"/>
                <a:gd name="connsiteX2" fmla="*/ 7348 w 137160"/>
                <a:gd name="connsiteY2" fmla="*/ 73173 h 303711"/>
                <a:gd name="connsiteX3" fmla="*/ 73173 w 137160"/>
                <a:gd name="connsiteY3" fmla="*/ 7348 h 303711"/>
                <a:gd name="connsiteX4" fmla="*/ 138998 w 137160"/>
                <a:gd name="connsiteY4" fmla="*/ 73173 h 303711"/>
                <a:gd name="connsiteX5" fmla="*/ 138998 w 137160"/>
                <a:gd name="connsiteY5" fmla="*/ 237775 h 303711"/>
                <a:gd name="connsiteX6" fmla="*/ 73173 w 137160"/>
                <a:gd name="connsiteY6" fmla="*/ 303600 h 303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60" h="303711">
                  <a:moveTo>
                    <a:pt x="73173" y="303600"/>
                  </a:moveTo>
                  <a:cubicBezTo>
                    <a:pt x="40260" y="303600"/>
                    <a:pt x="7348" y="276160"/>
                    <a:pt x="7348" y="237775"/>
                  </a:cubicBezTo>
                  <a:lnTo>
                    <a:pt x="7348" y="73173"/>
                  </a:lnTo>
                  <a:cubicBezTo>
                    <a:pt x="7348" y="40260"/>
                    <a:pt x="34788" y="7348"/>
                    <a:pt x="73173" y="7348"/>
                  </a:cubicBezTo>
                  <a:cubicBezTo>
                    <a:pt x="106085" y="7348"/>
                    <a:pt x="138998" y="34788"/>
                    <a:pt x="138998" y="73173"/>
                  </a:cubicBezTo>
                  <a:lnTo>
                    <a:pt x="138998" y="237775"/>
                  </a:lnTo>
                  <a:cubicBezTo>
                    <a:pt x="138998" y="276160"/>
                    <a:pt x="106085" y="303600"/>
                    <a:pt x="73173" y="303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9C45184-379A-4F72-A34F-0FCA32CFBDB6}"/>
                </a:ext>
              </a:extLst>
            </p:cNvPr>
            <p:cNvSpPr/>
            <p:nvPr/>
          </p:nvSpPr>
          <p:spPr>
            <a:xfrm>
              <a:off x="4985288" y="2860834"/>
              <a:ext cx="137160" cy="303711"/>
            </a:xfrm>
            <a:custGeom>
              <a:avLst/>
              <a:gdLst>
                <a:gd name="connsiteX0" fmla="*/ 73173 w 137160"/>
                <a:gd name="connsiteY0" fmla="*/ 303600 h 303711"/>
                <a:gd name="connsiteX1" fmla="*/ 7348 w 137160"/>
                <a:gd name="connsiteY1" fmla="*/ 237775 h 303711"/>
                <a:gd name="connsiteX2" fmla="*/ 7348 w 137160"/>
                <a:gd name="connsiteY2" fmla="*/ 73173 h 303711"/>
                <a:gd name="connsiteX3" fmla="*/ 73173 w 137160"/>
                <a:gd name="connsiteY3" fmla="*/ 7348 h 303711"/>
                <a:gd name="connsiteX4" fmla="*/ 138998 w 137160"/>
                <a:gd name="connsiteY4" fmla="*/ 73173 h 303711"/>
                <a:gd name="connsiteX5" fmla="*/ 138998 w 137160"/>
                <a:gd name="connsiteY5" fmla="*/ 237775 h 303711"/>
                <a:gd name="connsiteX6" fmla="*/ 73173 w 137160"/>
                <a:gd name="connsiteY6" fmla="*/ 303600 h 303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60" h="303711">
                  <a:moveTo>
                    <a:pt x="73173" y="303600"/>
                  </a:moveTo>
                  <a:cubicBezTo>
                    <a:pt x="40260" y="303600"/>
                    <a:pt x="7348" y="276160"/>
                    <a:pt x="7348" y="237775"/>
                  </a:cubicBezTo>
                  <a:lnTo>
                    <a:pt x="7348" y="73173"/>
                  </a:lnTo>
                  <a:cubicBezTo>
                    <a:pt x="7348" y="40260"/>
                    <a:pt x="34788" y="7348"/>
                    <a:pt x="73173" y="7348"/>
                  </a:cubicBezTo>
                  <a:cubicBezTo>
                    <a:pt x="106085" y="7348"/>
                    <a:pt x="138998" y="34788"/>
                    <a:pt x="138998" y="73173"/>
                  </a:cubicBezTo>
                  <a:lnTo>
                    <a:pt x="138998" y="237775"/>
                  </a:lnTo>
                  <a:cubicBezTo>
                    <a:pt x="138998" y="276160"/>
                    <a:pt x="106085" y="303600"/>
                    <a:pt x="73173" y="303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DEAABFC-5AD8-461F-B6FE-C6200DED80A1}"/>
                </a:ext>
              </a:extLst>
            </p:cNvPr>
            <p:cNvSpPr/>
            <p:nvPr/>
          </p:nvSpPr>
          <p:spPr>
            <a:xfrm>
              <a:off x="914379" y="5697320"/>
              <a:ext cx="1773283" cy="1312817"/>
            </a:xfrm>
            <a:custGeom>
              <a:avLst/>
              <a:gdLst>
                <a:gd name="connsiteX0" fmla="*/ 73173 w 1773282"/>
                <a:gd name="connsiteY0" fmla="*/ 1313080 h 1312817"/>
                <a:gd name="connsiteX1" fmla="*/ 7348 w 1773282"/>
                <a:gd name="connsiteY1" fmla="*/ 1247255 h 1312817"/>
                <a:gd name="connsiteX2" fmla="*/ 7348 w 1773282"/>
                <a:gd name="connsiteY2" fmla="*/ 314577 h 1312817"/>
                <a:gd name="connsiteX3" fmla="*/ 314576 w 1773282"/>
                <a:gd name="connsiteY3" fmla="*/ 7348 h 1312817"/>
                <a:gd name="connsiteX4" fmla="*/ 1702636 w 1773282"/>
                <a:gd name="connsiteY4" fmla="*/ 7348 h 1312817"/>
                <a:gd name="connsiteX5" fmla="*/ 1768461 w 1773282"/>
                <a:gd name="connsiteY5" fmla="*/ 73173 h 1312817"/>
                <a:gd name="connsiteX6" fmla="*/ 1702636 w 1773282"/>
                <a:gd name="connsiteY6" fmla="*/ 138998 h 1312817"/>
                <a:gd name="connsiteX7" fmla="*/ 314576 w 1773282"/>
                <a:gd name="connsiteY7" fmla="*/ 138998 h 1312817"/>
                <a:gd name="connsiteX8" fmla="*/ 133525 w 1773282"/>
                <a:gd name="connsiteY8" fmla="*/ 320049 h 1312817"/>
                <a:gd name="connsiteX9" fmla="*/ 133525 w 1773282"/>
                <a:gd name="connsiteY9" fmla="*/ 1252727 h 1312817"/>
                <a:gd name="connsiteX10" fmla="*/ 73173 w 1773282"/>
                <a:gd name="connsiteY10" fmla="*/ 1313080 h 1312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282" h="1312817">
                  <a:moveTo>
                    <a:pt x="73173" y="1313080"/>
                  </a:moveTo>
                  <a:cubicBezTo>
                    <a:pt x="40260" y="1313080"/>
                    <a:pt x="7348" y="1285640"/>
                    <a:pt x="7348" y="1247255"/>
                  </a:cubicBezTo>
                  <a:lnTo>
                    <a:pt x="7348" y="314577"/>
                  </a:lnTo>
                  <a:cubicBezTo>
                    <a:pt x="7348" y="144508"/>
                    <a:pt x="144508" y="7348"/>
                    <a:pt x="314576" y="7348"/>
                  </a:cubicBezTo>
                  <a:lnTo>
                    <a:pt x="1702636" y="7348"/>
                  </a:lnTo>
                  <a:cubicBezTo>
                    <a:pt x="1735548" y="7348"/>
                    <a:pt x="1768461" y="34788"/>
                    <a:pt x="1768461" y="73173"/>
                  </a:cubicBezTo>
                  <a:cubicBezTo>
                    <a:pt x="1768461" y="106085"/>
                    <a:pt x="1741021" y="138998"/>
                    <a:pt x="1702636" y="138998"/>
                  </a:cubicBezTo>
                  <a:lnTo>
                    <a:pt x="314576" y="138998"/>
                  </a:lnTo>
                  <a:cubicBezTo>
                    <a:pt x="215841" y="138998"/>
                    <a:pt x="133525" y="221278"/>
                    <a:pt x="133525" y="320049"/>
                  </a:cubicBezTo>
                  <a:lnTo>
                    <a:pt x="133525" y="1252727"/>
                  </a:lnTo>
                  <a:cubicBezTo>
                    <a:pt x="133525" y="1285640"/>
                    <a:pt x="106085" y="1313080"/>
                    <a:pt x="73173" y="1313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94C21BB-73E7-4EB5-B1AA-6F6EB3A402EA}"/>
                </a:ext>
              </a:extLst>
            </p:cNvPr>
            <p:cNvSpPr/>
            <p:nvPr/>
          </p:nvSpPr>
          <p:spPr>
            <a:xfrm>
              <a:off x="2543840" y="4517744"/>
              <a:ext cx="1773283" cy="1312817"/>
            </a:xfrm>
            <a:custGeom>
              <a:avLst/>
              <a:gdLst>
                <a:gd name="connsiteX0" fmla="*/ 73173 w 1773282"/>
                <a:gd name="connsiteY0" fmla="*/ 1313080 h 1312817"/>
                <a:gd name="connsiteX1" fmla="*/ 7348 w 1773282"/>
                <a:gd name="connsiteY1" fmla="*/ 1247255 h 1312817"/>
                <a:gd name="connsiteX2" fmla="*/ 7348 w 1773282"/>
                <a:gd name="connsiteY2" fmla="*/ 314576 h 1312817"/>
                <a:gd name="connsiteX3" fmla="*/ 314576 w 1773282"/>
                <a:gd name="connsiteY3" fmla="*/ 7348 h 1312817"/>
                <a:gd name="connsiteX4" fmla="*/ 1702635 w 1773282"/>
                <a:gd name="connsiteY4" fmla="*/ 7348 h 1312817"/>
                <a:gd name="connsiteX5" fmla="*/ 1768461 w 1773282"/>
                <a:gd name="connsiteY5" fmla="*/ 73173 h 1312817"/>
                <a:gd name="connsiteX6" fmla="*/ 1702635 w 1773282"/>
                <a:gd name="connsiteY6" fmla="*/ 138998 h 1312817"/>
                <a:gd name="connsiteX7" fmla="*/ 314576 w 1773282"/>
                <a:gd name="connsiteY7" fmla="*/ 138998 h 1312817"/>
                <a:gd name="connsiteX8" fmla="*/ 133525 w 1773282"/>
                <a:gd name="connsiteY8" fmla="*/ 320049 h 1312817"/>
                <a:gd name="connsiteX9" fmla="*/ 133525 w 1773282"/>
                <a:gd name="connsiteY9" fmla="*/ 1252727 h 1312817"/>
                <a:gd name="connsiteX10" fmla="*/ 73173 w 1773282"/>
                <a:gd name="connsiteY10" fmla="*/ 1313080 h 1312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282" h="1312817">
                  <a:moveTo>
                    <a:pt x="73173" y="1313080"/>
                  </a:moveTo>
                  <a:cubicBezTo>
                    <a:pt x="40260" y="1313080"/>
                    <a:pt x="7348" y="1285640"/>
                    <a:pt x="7348" y="1247255"/>
                  </a:cubicBezTo>
                  <a:lnTo>
                    <a:pt x="7348" y="314576"/>
                  </a:lnTo>
                  <a:cubicBezTo>
                    <a:pt x="7348" y="144508"/>
                    <a:pt x="144508" y="7348"/>
                    <a:pt x="314576" y="7348"/>
                  </a:cubicBezTo>
                  <a:lnTo>
                    <a:pt x="1702635" y="7348"/>
                  </a:lnTo>
                  <a:cubicBezTo>
                    <a:pt x="1735548" y="7348"/>
                    <a:pt x="1768461" y="34788"/>
                    <a:pt x="1768461" y="73173"/>
                  </a:cubicBezTo>
                  <a:cubicBezTo>
                    <a:pt x="1768461" y="111596"/>
                    <a:pt x="1741021" y="138998"/>
                    <a:pt x="1702635" y="138998"/>
                  </a:cubicBezTo>
                  <a:lnTo>
                    <a:pt x="314576" y="138998"/>
                  </a:lnTo>
                  <a:cubicBezTo>
                    <a:pt x="215841" y="138998"/>
                    <a:pt x="133525" y="221278"/>
                    <a:pt x="133525" y="320049"/>
                  </a:cubicBezTo>
                  <a:lnTo>
                    <a:pt x="133525" y="1252727"/>
                  </a:lnTo>
                  <a:cubicBezTo>
                    <a:pt x="133525" y="1285640"/>
                    <a:pt x="106085" y="1313080"/>
                    <a:pt x="73173" y="1313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198FA0B-D11A-4189-B63A-0E1763C3963C}"/>
                </a:ext>
              </a:extLst>
            </p:cNvPr>
            <p:cNvSpPr/>
            <p:nvPr/>
          </p:nvSpPr>
          <p:spPr>
            <a:xfrm>
              <a:off x="4167814" y="3343655"/>
              <a:ext cx="1773283" cy="1312817"/>
            </a:xfrm>
            <a:custGeom>
              <a:avLst/>
              <a:gdLst>
                <a:gd name="connsiteX0" fmla="*/ 73173 w 1773282"/>
                <a:gd name="connsiteY0" fmla="*/ 1313080 h 1312817"/>
                <a:gd name="connsiteX1" fmla="*/ 7348 w 1773282"/>
                <a:gd name="connsiteY1" fmla="*/ 1247255 h 1312817"/>
                <a:gd name="connsiteX2" fmla="*/ 7348 w 1773282"/>
                <a:gd name="connsiteY2" fmla="*/ 314576 h 1312817"/>
                <a:gd name="connsiteX3" fmla="*/ 314577 w 1773282"/>
                <a:gd name="connsiteY3" fmla="*/ 7348 h 1312817"/>
                <a:gd name="connsiteX4" fmla="*/ 1702636 w 1773282"/>
                <a:gd name="connsiteY4" fmla="*/ 7348 h 1312817"/>
                <a:gd name="connsiteX5" fmla="*/ 1768461 w 1773282"/>
                <a:gd name="connsiteY5" fmla="*/ 73173 h 1312817"/>
                <a:gd name="connsiteX6" fmla="*/ 1702636 w 1773282"/>
                <a:gd name="connsiteY6" fmla="*/ 138998 h 1312817"/>
                <a:gd name="connsiteX7" fmla="*/ 320063 w 1773282"/>
                <a:gd name="connsiteY7" fmla="*/ 138998 h 1312817"/>
                <a:gd name="connsiteX8" fmla="*/ 139012 w 1773282"/>
                <a:gd name="connsiteY8" fmla="*/ 320049 h 1312817"/>
                <a:gd name="connsiteX9" fmla="*/ 139012 w 1773282"/>
                <a:gd name="connsiteY9" fmla="*/ 1252727 h 1312817"/>
                <a:gd name="connsiteX10" fmla="*/ 73187 w 1773282"/>
                <a:gd name="connsiteY10" fmla="*/ 1313080 h 1312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282" h="1312817">
                  <a:moveTo>
                    <a:pt x="73173" y="1313080"/>
                  </a:moveTo>
                  <a:cubicBezTo>
                    <a:pt x="40260" y="1313080"/>
                    <a:pt x="7348" y="1285640"/>
                    <a:pt x="7348" y="1247255"/>
                  </a:cubicBezTo>
                  <a:lnTo>
                    <a:pt x="7348" y="314576"/>
                  </a:lnTo>
                  <a:cubicBezTo>
                    <a:pt x="7348" y="144508"/>
                    <a:pt x="144508" y="7348"/>
                    <a:pt x="314577" y="7348"/>
                  </a:cubicBezTo>
                  <a:lnTo>
                    <a:pt x="1702636" y="7348"/>
                  </a:lnTo>
                  <a:cubicBezTo>
                    <a:pt x="1735548" y="7348"/>
                    <a:pt x="1768461" y="34788"/>
                    <a:pt x="1768461" y="73173"/>
                  </a:cubicBezTo>
                  <a:cubicBezTo>
                    <a:pt x="1768461" y="111596"/>
                    <a:pt x="1741021" y="138998"/>
                    <a:pt x="1702636" y="138998"/>
                  </a:cubicBezTo>
                  <a:lnTo>
                    <a:pt x="320063" y="138998"/>
                  </a:lnTo>
                  <a:cubicBezTo>
                    <a:pt x="221327" y="138998"/>
                    <a:pt x="139012" y="221278"/>
                    <a:pt x="139012" y="320049"/>
                  </a:cubicBezTo>
                  <a:lnTo>
                    <a:pt x="139012" y="1252727"/>
                  </a:lnTo>
                  <a:cubicBezTo>
                    <a:pt x="139050" y="1285640"/>
                    <a:pt x="111610" y="1313080"/>
                    <a:pt x="73187" y="1313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6FA0913-EE9E-4452-BAF2-56BD12C1EA73}"/>
                </a:ext>
              </a:extLst>
            </p:cNvPr>
            <p:cNvSpPr/>
            <p:nvPr/>
          </p:nvSpPr>
          <p:spPr>
            <a:xfrm>
              <a:off x="1243532" y="1516652"/>
              <a:ext cx="911134" cy="911134"/>
            </a:xfrm>
            <a:custGeom>
              <a:avLst/>
              <a:gdLst>
                <a:gd name="connsiteX0" fmla="*/ 457252 w 911134"/>
                <a:gd name="connsiteY0" fmla="*/ 907117 h 911134"/>
                <a:gd name="connsiteX1" fmla="*/ 7348 w 911134"/>
                <a:gd name="connsiteY1" fmla="*/ 457213 h 911134"/>
                <a:gd name="connsiteX2" fmla="*/ 457252 w 911134"/>
                <a:gd name="connsiteY2" fmla="*/ 7348 h 911134"/>
                <a:gd name="connsiteX3" fmla="*/ 907157 w 911134"/>
                <a:gd name="connsiteY3" fmla="*/ 457252 h 911134"/>
                <a:gd name="connsiteX4" fmla="*/ 457252 w 911134"/>
                <a:gd name="connsiteY4" fmla="*/ 907117 h 911134"/>
                <a:gd name="connsiteX5" fmla="*/ 457252 w 911134"/>
                <a:gd name="connsiteY5" fmla="*/ 133525 h 911134"/>
                <a:gd name="connsiteX6" fmla="*/ 133564 w 911134"/>
                <a:gd name="connsiteY6" fmla="*/ 457213 h 911134"/>
                <a:gd name="connsiteX7" fmla="*/ 457252 w 911134"/>
                <a:gd name="connsiteY7" fmla="*/ 780901 h 911134"/>
                <a:gd name="connsiteX8" fmla="*/ 780940 w 911134"/>
                <a:gd name="connsiteY8" fmla="*/ 457213 h 911134"/>
                <a:gd name="connsiteX9" fmla="*/ 457252 w 911134"/>
                <a:gd name="connsiteY9" fmla="*/ 133525 h 911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1134" h="911134">
                  <a:moveTo>
                    <a:pt x="457252" y="907117"/>
                  </a:moveTo>
                  <a:cubicBezTo>
                    <a:pt x="210374" y="907117"/>
                    <a:pt x="7348" y="704131"/>
                    <a:pt x="7348" y="457213"/>
                  </a:cubicBezTo>
                  <a:cubicBezTo>
                    <a:pt x="7348" y="210335"/>
                    <a:pt x="210335" y="7348"/>
                    <a:pt x="457252" y="7348"/>
                  </a:cubicBezTo>
                  <a:cubicBezTo>
                    <a:pt x="704130" y="7348"/>
                    <a:pt x="907157" y="210335"/>
                    <a:pt x="907157" y="457252"/>
                  </a:cubicBezTo>
                  <a:cubicBezTo>
                    <a:pt x="907118" y="704131"/>
                    <a:pt x="704130" y="907117"/>
                    <a:pt x="457252" y="907117"/>
                  </a:cubicBezTo>
                  <a:close/>
                  <a:moveTo>
                    <a:pt x="457252" y="133525"/>
                  </a:moveTo>
                  <a:cubicBezTo>
                    <a:pt x="281668" y="133525"/>
                    <a:pt x="133564" y="276162"/>
                    <a:pt x="133564" y="457213"/>
                  </a:cubicBezTo>
                  <a:cubicBezTo>
                    <a:pt x="133564" y="632797"/>
                    <a:pt x="276201" y="780901"/>
                    <a:pt x="457252" y="780901"/>
                  </a:cubicBezTo>
                  <a:cubicBezTo>
                    <a:pt x="632837" y="780901"/>
                    <a:pt x="780940" y="638264"/>
                    <a:pt x="780940" y="457213"/>
                  </a:cubicBezTo>
                  <a:cubicBezTo>
                    <a:pt x="775429" y="276191"/>
                    <a:pt x="632798" y="133525"/>
                    <a:pt x="457252" y="133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AA26C37-FFE1-4F1A-869B-C2CCA5AD18B3}"/>
                </a:ext>
              </a:extLst>
            </p:cNvPr>
            <p:cNvSpPr/>
            <p:nvPr/>
          </p:nvSpPr>
          <p:spPr>
            <a:xfrm>
              <a:off x="1901893" y="4012988"/>
              <a:ext cx="137160" cy="1479369"/>
            </a:xfrm>
            <a:custGeom>
              <a:avLst/>
              <a:gdLst>
                <a:gd name="connsiteX0" fmla="*/ 73211 w 137160"/>
                <a:gd name="connsiteY0" fmla="*/ 1477680 h 1479368"/>
                <a:gd name="connsiteX1" fmla="*/ 7386 w 137160"/>
                <a:gd name="connsiteY1" fmla="*/ 1411855 h 1479368"/>
                <a:gd name="connsiteX2" fmla="*/ 7348 w 137160"/>
                <a:gd name="connsiteY2" fmla="*/ 73173 h 1479368"/>
                <a:gd name="connsiteX3" fmla="*/ 73173 w 137160"/>
                <a:gd name="connsiteY3" fmla="*/ 7348 h 1479368"/>
                <a:gd name="connsiteX4" fmla="*/ 138998 w 137160"/>
                <a:gd name="connsiteY4" fmla="*/ 73173 h 1479368"/>
                <a:gd name="connsiteX5" fmla="*/ 138998 w 137160"/>
                <a:gd name="connsiteY5" fmla="*/ 1411855 h 1479368"/>
                <a:gd name="connsiteX6" fmla="*/ 73212 w 137160"/>
                <a:gd name="connsiteY6" fmla="*/ 1477680 h 1479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60" h="1479368">
                  <a:moveTo>
                    <a:pt x="73211" y="1477680"/>
                  </a:moveTo>
                  <a:cubicBezTo>
                    <a:pt x="40299" y="1477680"/>
                    <a:pt x="7386" y="1450240"/>
                    <a:pt x="7386" y="1411855"/>
                  </a:cubicBezTo>
                  <a:lnTo>
                    <a:pt x="7348" y="73173"/>
                  </a:lnTo>
                  <a:cubicBezTo>
                    <a:pt x="7348" y="40260"/>
                    <a:pt x="34788" y="7348"/>
                    <a:pt x="73173" y="7348"/>
                  </a:cubicBezTo>
                  <a:cubicBezTo>
                    <a:pt x="106085" y="7348"/>
                    <a:pt x="138998" y="34788"/>
                    <a:pt x="138998" y="73173"/>
                  </a:cubicBezTo>
                  <a:lnTo>
                    <a:pt x="138998" y="1411855"/>
                  </a:lnTo>
                  <a:cubicBezTo>
                    <a:pt x="139036" y="1450240"/>
                    <a:pt x="106124" y="1477680"/>
                    <a:pt x="73212" y="1477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E3B7E441-503A-44C6-8527-8765466FBF94}"/>
                </a:ext>
              </a:extLst>
            </p:cNvPr>
            <p:cNvSpPr/>
            <p:nvPr/>
          </p:nvSpPr>
          <p:spPr>
            <a:xfrm>
              <a:off x="1347805" y="4012988"/>
              <a:ext cx="137160" cy="1459774"/>
            </a:xfrm>
            <a:custGeom>
              <a:avLst/>
              <a:gdLst>
                <a:gd name="connsiteX0" fmla="*/ 73173 w 137160"/>
                <a:gd name="connsiteY0" fmla="*/ 1455734 h 1459774"/>
                <a:gd name="connsiteX1" fmla="*/ 7348 w 137160"/>
                <a:gd name="connsiteY1" fmla="*/ 1389909 h 1459774"/>
                <a:gd name="connsiteX2" fmla="*/ 7348 w 137160"/>
                <a:gd name="connsiteY2" fmla="*/ 73173 h 1459774"/>
                <a:gd name="connsiteX3" fmla="*/ 73173 w 137160"/>
                <a:gd name="connsiteY3" fmla="*/ 7348 h 1459774"/>
                <a:gd name="connsiteX4" fmla="*/ 138998 w 137160"/>
                <a:gd name="connsiteY4" fmla="*/ 73173 h 1459774"/>
                <a:gd name="connsiteX5" fmla="*/ 138998 w 137160"/>
                <a:gd name="connsiteY5" fmla="*/ 1389909 h 1459774"/>
                <a:gd name="connsiteX6" fmla="*/ 73173 w 137160"/>
                <a:gd name="connsiteY6" fmla="*/ 1455734 h 145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60" h="1459774">
                  <a:moveTo>
                    <a:pt x="73173" y="1455734"/>
                  </a:moveTo>
                  <a:cubicBezTo>
                    <a:pt x="40260" y="1455734"/>
                    <a:pt x="7348" y="1428294"/>
                    <a:pt x="7348" y="1389909"/>
                  </a:cubicBezTo>
                  <a:lnTo>
                    <a:pt x="7348" y="73173"/>
                  </a:lnTo>
                  <a:cubicBezTo>
                    <a:pt x="7348" y="40260"/>
                    <a:pt x="34788" y="7348"/>
                    <a:pt x="73173" y="7348"/>
                  </a:cubicBezTo>
                  <a:cubicBezTo>
                    <a:pt x="106085" y="7348"/>
                    <a:pt x="138998" y="34788"/>
                    <a:pt x="138998" y="73173"/>
                  </a:cubicBezTo>
                  <a:lnTo>
                    <a:pt x="138998" y="1389909"/>
                  </a:lnTo>
                  <a:cubicBezTo>
                    <a:pt x="139036" y="1422822"/>
                    <a:pt x="111596" y="1455734"/>
                    <a:pt x="73173" y="14557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2F88EB8-6E26-448B-9BAE-6458075AC916}"/>
                </a:ext>
              </a:extLst>
            </p:cNvPr>
            <p:cNvSpPr/>
            <p:nvPr/>
          </p:nvSpPr>
          <p:spPr>
            <a:xfrm>
              <a:off x="1633076" y="2877311"/>
              <a:ext cx="1048294" cy="587829"/>
            </a:xfrm>
            <a:custGeom>
              <a:avLst/>
              <a:gdLst>
                <a:gd name="connsiteX0" fmla="*/ 978451 w 1048294"/>
                <a:gd name="connsiteY0" fmla="*/ 583389 h 587828"/>
                <a:gd name="connsiteX1" fmla="*/ 353001 w 1048294"/>
                <a:gd name="connsiteY1" fmla="*/ 583389 h 587828"/>
                <a:gd name="connsiteX2" fmla="*/ 7348 w 1048294"/>
                <a:gd name="connsiteY2" fmla="*/ 237736 h 587828"/>
                <a:gd name="connsiteX3" fmla="*/ 7386 w 1048294"/>
                <a:gd name="connsiteY3" fmla="*/ 73173 h 587828"/>
                <a:gd name="connsiteX4" fmla="*/ 73211 w 1048294"/>
                <a:gd name="connsiteY4" fmla="*/ 7348 h 587828"/>
                <a:gd name="connsiteX5" fmla="*/ 139036 w 1048294"/>
                <a:gd name="connsiteY5" fmla="*/ 73173 h 587828"/>
                <a:gd name="connsiteX6" fmla="*/ 139036 w 1048294"/>
                <a:gd name="connsiteY6" fmla="*/ 232259 h 587828"/>
                <a:gd name="connsiteX7" fmla="*/ 358473 w 1048294"/>
                <a:gd name="connsiteY7" fmla="*/ 451695 h 587828"/>
                <a:gd name="connsiteX8" fmla="*/ 983922 w 1048294"/>
                <a:gd name="connsiteY8" fmla="*/ 451695 h 587828"/>
                <a:gd name="connsiteX9" fmla="*/ 1049747 w 1048294"/>
                <a:gd name="connsiteY9" fmla="*/ 517520 h 587828"/>
                <a:gd name="connsiteX10" fmla="*/ 978451 w 1048294"/>
                <a:gd name="connsiteY10" fmla="*/ 583384 h 587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8294" h="587828">
                  <a:moveTo>
                    <a:pt x="978451" y="583389"/>
                  </a:moveTo>
                  <a:lnTo>
                    <a:pt x="353001" y="583389"/>
                  </a:lnTo>
                  <a:cubicBezTo>
                    <a:pt x="160957" y="583389"/>
                    <a:pt x="7348" y="429769"/>
                    <a:pt x="7348" y="237736"/>
                  </a:cubicBezTo>
                  <a:lnTo>
                    <a:pt x="7386" y="73173"/>
                  </a:lnTo>
                  <a:cubicBezTo>
                    <a:pt x="7386" y="40260"/>
                    <a:pt x="34826" y="7348"/>
                    <a:pt x="73211" y="7348"/>
                  </a:cubicBezTo>
                  <a:cubicBezTo>
                    <a:pt x="106124" y="7348"/>
                    <a:pt x="139036" y="34788"/>
                    <a:pt x="139036" y="73173"/>
                  </a:cubicBezTo>
                  <a:lnTo>
                    <a:pt x="139036" y="232259"/>
                  </a:lnTo>
                  <a:cubicBezTo>
                    <a:pt x="139036" y="352960"/>
                    <a:pt x="237772" y="451695"/>
                    <a:pt x="358473" y="451695"/>
                  </a:cubicBezTo>
                  <a:lnTo>
                    <a:pt x="983922" y="451695"/>
                  </a:lnTo>
                  <a:cubicBezTo>
                    <a:pt x="1016835" y="451695"/>
                    <a:pt x="1049747" y="479135"/>
                    <a:pt x="1049747" y="517520"/>
                  </a:cubicBezTo>
                  <a:cubicBezTo>
                    <a:pt x="1049786" y="555944"/>
                    <a:pt x="1011400" y="583384"/>
                    <a:pt x="978451" y="5833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7FE1DD6-8971-428A-A1D5-FD3F0BE6D61E}"/>
                </a:ext>
              </a:extLst>
            </p:cNvPr>
            <p:cNvSpPr/>
            <p:nvPr/>
          </p:nvSpPr>
          <p:spPr>
            <a:xfrm>
              <a:off x="1347809" y="5324237"/>
              <a:ext cx="930729" cy="509451"/>
            </a:xfrm>
            <a:custGeom>
              <a:avLst/>
              <a:gdLst>
                <a:gd name="connsiteX0" fmla="*/ 868697 w 930728"/>
                <a:gd name="connsiteY0" fmla="*/ 506587 h 509451"/>
                <a:gd name="connsiteX1" fmla="*/ 802872 w 930728"/>
                <a:gd name="connsiteY1" fmla="*/ 440762 h 509451"/>
                <a:gd name="connsiteX2" fmla="*/ 501110 w 930728"/>
                <a:gd name="connsiteY2" fmla="*/ 139000 h 509451"/>
                <a:gd name="connsiteX3" fmla="*/ 138998 w 930728"/>
                <a:gd name="connsiteY3" fmla="*/ 139000 h 509451"/>
                <a:gd name="connsiteX4" fmla="*/ 138998 w 930728"/>
                <a:gd name="connsiteY4" fmla="*/ 440762 h 509451"/>
                <a:gd name="connsiteX5" fmla="*/ 73173 w 930728"/>
                <a:gd name="connsiteY5" fmla="*/ 506587 h 509451"/>
                <a:gd name="connsiteX6" fmla="*/ 7348 w 930728"/>
                <a:gd name="connsiteY6" fmla="*/ 440762 h 509451"/>
                <a:gd name="connsiteX7" fmla="*/ 7348 w 930728"/>
                <a:gd name="connsiteY7" fmla="*/ 73173 h 509451"/>
                <a:gd name="connsiteX8" fmla="*/ 73173 w 930728"/>
                <a:gd name="connsiteY8" fmla="*/ 7348 h 509451"/>
                <a:gd name="connsiteX9" fmla="*/ 495636 w 930728"/>
                <a:gd name="connsiteY9" fmla="*/ 7348 h 509451"/>
                <a:gd name="connsiteX10" fmla="*/ 923575 w 930728"/>
                <a:gd name="connsiteY10" fmla="*/ 435287 h 509451"/>
                <a:gd name="connsiteX11" fmla="*/ 868695 w 930728"/>
                <a:gd name="connsiteY11" fmla="*/ 506584 h 50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0728" h="509451">
                  <a:moveTo>
                    <a:pt x="868697" y="506587"/>
                  </a:moveTo>
                  <a:cubicBezTo>
                    <a:pt x="835785" y="506587"/>
                    <a:pt x="802872" y="479147"/>
                    <a:pt x="802872" y="440762"/>
                  </a:cubicBezTo>
                  <a:cubicBezTo>
                    <a:pt x="802872" y="276160"/>
                    <a:pt x="665712" y="139000"/>
                    <a:pt x="501110" y="139000"/>
                  </a:cubicBezTo>
                  <a:lnTo>
                    <a:pt x="138998" y="139000"/>
                  </a:lnTo>
                  <a:lnTo>
                    <a:pt x="138998" y="440762"/>
                  </a:lnTo>
                  <a:cubicBezTo>
                    <a:pt x="138998" y="473674"/>
                    <a:pt x="111558" y="506587"/>
                    <a:pt x="73173" y="506587"/>
                  </a:cubicBezTo>
                  <a:cubicBezTo>
                    <a:pt x="40260" y="506587"/>
                    <a:pt x="7348" y="479147"/>
                    <a:pt x="7348" y="440762"/>
                  </a:cubicBezTo>
                  <a:lnTo>
                    <a:pt x="7348" y="73173"/>
                  </a:lnTo>
                  <a:cubicBezTo>
                    <a:pt x="7348" y="40260"/>
                    <a:pt x="34788" y="7348"/>
                    <a:pt x="73173" y="7348"/>
                  </a:cubicBezTo>
                  <a:lnTo>
                    <a:pt x="495636" y="7348"/>
                  </a:lnTo>
                  <a:cubicBezTo>
                    <a:pt x="731531" y="7348"/>
                    <a:pt x="923575" y="199391"/>
                    <a:pt x="923575" y="435287"/>
                  </a:cubicBezTo>
                  <a:cubicBezTo>
                    <a:pt x="929047" y="479145"/>
                    <a:pt x="901646" y="506584"/>
                    <a:pt x="868695" y="5065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ED41A78-E2EB-40A0-87A3-58DBC1A25A53}"/>
                </a:ext>
              </a:extLst>
            </p:cNvPr>
            <p:cNvSpPr/>
            <p:nvPr/>
          </p:nvSpPr>
          <p:spPr>
            <a:xfrm>
              <a:off x="1177679" y="2487770"/>
              <a:ext cx="1028700" cy="1665514"/>
            </a:xfrm>
            <a:custGeom>
              <a:avLst/>
              <a:gdLst>
                <a:gd name="connsiteX0" fmla="*/ 797425 w 1028700"/>
                <a:gd name="connsiteY0" fmla="*/ 1664215 h 1665514"/>
                <a:gd name="connsiteX1" fmla="*/ 243279 w 1028700"/>
                <a:gd name="connsiteY1" fmla="*/ 1664215 h 1665514"/>
                <a:gd name="connsiteX2" fmla="*/ 188399 w 1028700"/>
                <a:gd name="connsiteY2" fmla="*/ 1631303 h 1665514"/>
                <a:gd name="connsiteX3" fmla="*/ 7348 w 1028700"/>
                <a:gd name="connsiteY3" fmla="*/ 918061 h 1665514"/>
                <a:gd name="connsiteX4" fmla="*/ 7348 w 1028700"/>
                <a:gd name="connsiteY4" fmla="*/ 517564 h 1665514"/>
                <a:gd name="connsiteX5" fmla="*/ 517563 w 1028700"/>
                <a:gd name="connsiteY5" fmla="*/ 7348 h 1665514"/>
                <a:gd name="connsiteX6" fmla="*/ 1027779 w 1028700"/>
                <a:gd name="connsiteY6" fmla="*/ 517564 h 1665514"/>
                <a:gd name="connsiteX7" fmla="*/ 1027779 w 1028700"/>
                <a:gd name="connsiteY7" fmla="*/ 660200 h 1665514"/>
                <a:gd name="connsiteX8" fmla="*/ 961954 w 1028700"/>
                <a:gd name="connsiteY8" fmla="*/ 726025 h 1665514"/>
                <a:gd name="connsiteX9" fmla="*/ 896129 w 1028700"/>
                <a:gd name="connsiteY9" fmla="*/ 660200 h 1665514"/>
                <a:gd name="connsiteX10" fmla="*/ 896129 w 1028700"/>
                <a:gd name="connsiteY10" fmla="*/ 517564 h 1665514"/>
                <a:gd name="connsiteX11" fmla="*/ 512091 w 1028700"/>
                <a:gd name="connsiteY11" fmla="*/ 133525 h 1665514"/>
                <a:gd name="connsiteX12" fmla="*/ 128053 w 1028700"/>
                <a:gd name="connsiteY12" fmla="*/ 517564 h 1665514"/>
                <a:gd name="connsiteX13" fmla="*/ 128053 w 1028700"/>
                <a:gd name="connsiteY13" fmla="*/ 918061 h 1665514"/>
                <a:gd name="connsiteX14" fmla="*/ 276195 w 1028700"/>
                <a:gd name="connsiteY14" fmla="*/ 1538034 h 1665514"/>
                <a:gd name="connsiteX15" fmla="*/ 753502 w 1028700"/>
                <a:gd name="connsiteY15" fmla="*/ 1538034 h 1665514"/>
                <a:gd name="connsiteX16" fmla="*/ 879680 w 1028700"/>
                <a:gd name="connsiteY16" fmla="*/ 1153996 h 1665514"/>
                <a:gd name="connsiteX17" fmla="*/ 951015 w 1028700"/>
                <a:gd name="connsiteY17" fmla="*/ 1104627 h 1665514"/>
                <a:gd name="connsiteX18" fmla="*/ 1000383 w 1028700"/>
                <a:gd name="connsiteY18" fmla="*/ 1175962 h 1665514"/>
                <a:gd name="connsiteX19" fmla="*/ 846764 w 1028700"/>
                <a:gd name="connsiteY19" fmla="*/ 1631333 h 1665514"/>
                <a:gd name="connsiteX20" fmla="*/ 797434 w 1028700"/>
                <a:gd name="connsiteY20" fmla="*/ 1664207 h 1665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665514">
                  <a:moveTo>
                    <a:pt x="797425" y="1664215"/>
                  </a:moveTo>
                  <a:lnTo>
                    <a:pt x="243279" y="1664215"/>
                  </a:lnTo>
                  <a:cubicBezTo>
                    <a:pt x="221350" y="1664215"/>
                    <a:pt x="199383" y="1653232"/>
                    <a:pt x="188399" y="1631303"/>
                  </a:cubicBezTo>
                  <a:cubicBezTo>
                    <a:pt x="73165" y="1411866"/>
                    <a:pt x="7348" y="1164939"/>
                    <a:pt x="7348" y="918061"/>
                  </a:cubicBezTo>
                  <a:lnTo>
                    <a:pt x="7348" y="517564"/>
                  </a:lnTo>
                  <a:cubicBezTo>
                    <a:pt x="7348" y="237767"/>
                    <a:pt x="237777" y="7348"/>
                    <a:pt x="517563" y="7348"/>
                  </a:cubicBezTo>
                  <a:cubicBezTo>
                    <a:pt x="797350" y="7348"/>
                    <a:pt x="1027779" y="237777"/>
                    <a:pt x="1027779" y="517564"/>
                  </a:cubicBezTo>
                  <a:lnTo>
                    <a:pt x="1027779" y="660200"/>
                  </a:lnTo>
                  <a:cubicBezTo>
                    <a:pt x="1027779" y="693113"/>
                    <a:pt x="1000339" y="726025"/>
                    <a:pt x="961954" y="726025"/>
                  </a:cubicBezTo>
                  <a:cubicBezTo>
                    <a:pt x="929042" y="726025"/>
                    <a:pt x="896129" y="698585"/>
                    <a:pt x="896129" y="660200"/>
                  </a:cubicBezTo>
                  <a:lnTo>
                    <a:pt x="896129" y="517564"/>
                  </a:lnTo>
                  <a:cubicBezTo>
                    <a:pt x="896129" y="303594"/>
                    <a:pt x="726060" y="133525"/>
                    <a:pt x="512091" y="133525"/>
                  </a:cubicBezTo>
                  <a:cubicBezTo>
                    <a:pt x="298121" y="133525"/>
                    <a:pt x="128053" y="303594"/>
                    <a:pt x="128053" y="517564"/>
                  </a:cubicBezTo>
                  <a:lnTo>
                    <a:pt x="128053" y="918061"/>
                  </a:lnTo>
                  <a:cubicBezTo>
                    <a:pt x="128053" y="1132031"/>
                    <a:pt x="177421" y="1346000"/>
                    <a:pt x="276195" y="1538034"/>
                  </a:cubicBezTo>
                  <a:lnTo>
                    <a:pt x="753502" y="1538034"/>
                  </a:lnTo>
                  <a:cubicBezTo>
                    <a:pt x="813855" y="1417333"/>
                    <a:pt x="857754" y="1285640"/>
                    <a:pt x="879680" y="1153996"/>
                  </a:cubicBezTo>
                  <a:cubicBezTo>
                    <a:pt x="885152" y="1121083"/>
                    <a:pt x="918103" y="1099116"/>
                    <a:pt x="951015" y="1104627"/>
                  </a:cubicBezTo>
                  <a:cubicBezTo>
                    <a:pt x="983927" y="1110100"/>
                    <a:pt x="1011367" y="1143050"/>
                    <a:pt x="1000383" y="1175962"/>
                  </a:cubicBezTo>
                  <a:cubicBezTo>
                    <a:pt x="972944" y="1335048"/>
                    <a:pt x="918103" y="1488706"/>
                    <a:pt x="846764" y="1631333"/>
                  </a:cubicBezTo>
                  <a:cubicBezTo>
                    <a:pt x="841292" y="1647751"/>
                    <a:pt x="819363" y="1664207"/>
                    <a:pt x="797434" y="16642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79D13CA-FE0B-4BCA-91B1-20DC782849CB}"/>
                </a:ext>
              </a:extLst>
            </p:cNvPr>
            <p:cNvSpPr/>
            <p:nvPr/>
          </p:nvSpPr>
          <p:spPr>
            <a:xfrm>
              <a:off x="1901931" y="4259829"/>
              <a:ext cx="3487783" cy="2547257"/>
            </a:xfrm>
            <a:custGeom>
              <a:avLst/>
              <a:gdLst>
                <a:gd name="connsiteX0" fmla="*/ 1565474 w 3487782"/>
                <a:gd name="connsiteY0" fmla="*/ 2547575 h 2547257"/>
                <a:gd name="connsiteX1" fmla="*/ 73173 w 3487782"/>
                <a:gd name="connsiteY1" fmla="*/ 2547575 h 2547257"/>
                <a:gd name="connsiteX2" fmla="*/ 7348 w 3487782"/>
                <a:gd name="connsiteY2" fmla="*/ 2481750 h 2547257"/>
                <a:gd name="connsiteX3" fmla="*/ 73173 w 3487782"/>
                <a:gd name="connsiteY3" fmla="*/ 2415925 h 2547257"/>
                <a:gd name="connsiteX4" fmla="*/ 1565474 w 3487782"/>
                <a:gd name="connsiteY4" fmla="*/ 2415925 h 2547257"/>
                <a:gd name="connsiteX5" fmla="*/ 3354040 w 3487782"/>
                <a:gd name="connsiteY5" fmla="*/ 627358 h 2547257"/>
                <a:gd name="connsiteX6" fmla="*/ 3354040 w 3487782"/>
                <a:gd name="connsiteY6" fmla="*/ 73173 h 2547257"/>
                <a:gd name="connsiteX7" fmla="*/ 3419865 w 3487782"/>
                <a:gd name="connsiteY7" fmla="*/ 7348 h 2547257"/>
                <a:gd name="connsiteX8" fmla="*/ 3485690 w 3487782"/>
                <a:gd name="connsiteY8" fmla="*/ 73173 h 2547257"/>
                <a:gd name="connsiteX9" fmla="*/ 3485690 w 3487782"/>
                <a:gd name="connsiteY9" fmla="*/ 638272 h 2547257"/>
                <a:gd name="connsiteX10" fmla="*/ 1565450 w 3487782"/>
                <a:gd name="connsiteY10" fmla="*/ 2547540 h 2547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87782" h="2547257">
                  <a:moveTo>
                    <a:pt x="1565474" y="2547575"/>
                  </a:moveTo>
                  <a:lnTo>
                    <a:pt x="73173" y="2547575"/>
                  </a:lnTo>
                  <a:cubicBezTo>
                    <a:pt x="40260" y="2547575"/>
                    <a:pt x="7348" y="2520135"/>
                    <a:pt x="7348" y="2481750"/>
                  </a:cubicBezTo>
                  <a:cubicBezTo>
                    <a:pt x="7348" y="2448837"/>
                    <a:pt x="34788" y="2415925"/>
                    <a:pt x="73173" y="2415925"/>
                  </a:cubicBezTo>
                  <a:lnTo>
                    <a:pt x="1565474" y="2415925"/>
                  </a:lnTo>
                  <a:cubicBezTo>
                    <a:pt x="2553026" y="2415925"/>
                    <a:pt x="3354040" y="1614891"/>
                    <a:pt x="3354040" y="627358"/>
                  </a:cubicBezTo>
                  <a:lnTo>
                    <a:pt x="3354040" y="73173"/>
                  </a:lnTo>
                  <a:cubicBezTo>
                    <a:pt x="3354040" y="40260"/>
                    <a:pt x="3381480" y="7348"/>
                    <a:pt x="3419865" y="7348"/>
                  </a:cubicBezTo>
                  <a:cubicBezTo>
                    <a:pt x="3452778" y="7348"/>
                    <a:pt x="3485690" y="34788"/>
                    <a:pt x="3485690" y="73173"/>
                  </a:cubicBezTo>
                  <a:lnTo>
                    <a:pt x="3485690" y="638272"/>
                  </a:lnTo>
                  <a:cubicBezTo>
                    <a:pt x="3474745" y="1686175"/>
                    <a:pt x="2618869" y="2547540"/>
                    <a:pt x="1565450" y="25475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57CBBE8-A481-4A66-9463-11462B01958E}"/>
                </a:ext>
              </a:extLst>
            </p:cNvPr>
            <p:cNvSpPr/>
            <p:nvPr/>
          </p:nvSpPr>
          <p:spPr>
            <a:xfrm>
              <a:off x="4838504" y="3937505"/>
              <a:ext cx="920931" cy="538843"/>
            </a:xfrm>
            <a:custGeom>
              <a:avLst/>
              <a:gdLst>
                <a:gd name="connsiteX0" fmla="*/ 71824 w 920931"/>
                <a:gd name="connsiteY0" fmla="*/ 538179 h 538842"/>
                <a:gd name="connsiteX1" fmla="*/ 27928 w 920931"/>
                <a:gd name="connsiteY1" fmla="*/ 521723 h 538842"/>
                <a:gd name="connsiteX2" fmla="*/ 27928 w 920931"/>
                <a:gd name="connsiteY2" fmla="*/ 433931 h 538842"/>
                <a:gd name="connsiteX3" fmla="*/ 433931 w 920931"/>
                <a:gd name="connsiteY3" fmla="*/ 27928 h 538842"/>
                <a:gd name="connsiteX4" fmla="*/ 521722 w 920931"/>
                <a:gd name="connsiteY4" fmla="*/ 27928 h 538842"/>
                <a:gd name="connsiteX5" fmla="*/ 900294 w 920931"/>
                <a:gd name="connsiteY5" fmla="*/ 406499 h 538842"/>
                <a:gd name="connsiteX6" fmla="*/ 900294 w 920931"/>
                <a:gd name="connsiteY6" fmla="*/ 494290 h 538842"/>
                <a:gd name="connsiteX7" fmla="*/ 812503 w 920931"/>
                <a:gd name="connsiteY7" fmla="*/ 494290 h 538842"/>
                <a:gd name="connsiteX8" fmla="*/ 477832 w 920931"/>
                <a:gd name="connsiteY8" fmla="*/ 159620 h 538842"/>
                <a:gd name="connsiteX9" fmla="*/ 115720 w 920931"/>
                <a:gd name="connsiteY9" fmla="*/ 521732 h 538842"/>
                <a:gd name="connsiteX10" fmla="*/ 71824 w 920931"/>
                <a:gd name="connsiteY10" fmla="*/ 538189 h 538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0931" h="538842">
                  <a:moveTo>
                    <a:pt x="71824" y="538179"/>
                  </a:moveTo>
                  <a:cubicBezTo>
                    <a:pt x="55367" y="538179"/>
                    <a:pt x="38911" y="532706"/>
                    <a:pt x="27928" y="521723"/>
                  </a:cubicBezTo>
                  <a:cubicBezTo>
                    <a:pt x="488" y="494283"/>
                    <a:pt x="488" y="455897"/>
                    <a:pt x="27928" y="433931"/>
                  </a:cubicBezTo>
                  <a:lnTo>
                    <a:pt x="433931" y="27928"/>
                  </a:lnTo>
                  <a:cubicBezTo>
                    <a:pt x="461371" y="488"/>
                    <a:pt x="499756" y="488"/>
                    <a:pt x="521722" y="27928"/>
                  </a:cubicBezTo>
                  <a:lnTo>
                    <a:pt x="900294" y="406499"/>
                  </a:lnTo>
                  <a:cubicBezTo>
                    <a:pt x="927733" y="433939"/>
                    <a:pt x="927733" y="472324"/>
                    <a:pt x="900294" y="494290"/>
                  </a:cubicBezTo>
                  <a:cubicBezTo>
                    <a:pt x="872854" y="521730"/>
                    <a:pt x="834468" y="521730"/>
                    <a:pt x="812503" y="494290"/>
                  </a:cubicBezTo>
                  <a:lnTo>
                    <a:pt x="477832" y="159620"/>
                  </a:lnTo>
                  <a:lnTo>
                    <a:pt x="115720" y="521732"/>
                  </a:lnTo>
                  <a:cubicBezTo>
                    <a:pt x="104736" y="532678"/>
                    <a:pt x="88280" y="538189"/>
                    <a:pt x="71824" y="5381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C5AC7BBD-CC15-2896-4499-76C0A7CA88E2}"/>
              </a:ext>
            </a:extLst>
          </p:cNvPr>
          <p:cNvSpPr txBox="1"/>
          <p:nvPr/>
        </p:nvSpPr>
        <p:spPr>
          <a:xfrm>
            <a:off x="396272" y="384269"/>
            <a:ext cx="3104262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IN" sz="2200" dirty="0">
                <a:solidFill>
                  <a:schemeClr val="bg1"/>
                </a:solidFill>
                <a:latin typeface="Georgia" panose="02040502050405020303" pitchFamily="18" charset="0"/>
              </a:rPr>
              <a:t>Why is a </a:t>
            </a:r>
            <a:r>
              <a:rPr lang="en-IN" sz="2200" b="1" dirty="0">
                <a:solidFill>
                  <a:schemeClr val="bg1"/>
                </a:solidFill>
                <a:latin typeface="Georgia" panose="02040502050405020303" pitchFamily="18" charset="0"/>
              </a:rPr>
              <a:t>BREAKEVEN FINANCIAL TEMPLATE </a:t>
            </a:r>
            <a:r>
              <a:rPr lang="en-IN" sz="2200" dirty="0">
                <a:solidFill>
                  <a:schemeClr val="bg1"/>
                </a:solidFill>
                <a:latin typeface="Georgia" panose="02040502050405020303" pitchFamily="18" charset="0"/>
              </a:rPr>
              <a:t>important for business owners?</a:t>
            </a:r>
            <a:endParaRPr lang="en-US" sz="22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F3CAA20-AB7E-C73C-4932-865A7A7087BD}"/>
              </a:ext>
            </a:extLst>
          </p:cNvPr>
          <p:cNvCxnSpPr>
            <a:cxnSpLocks/>
          </p:cNvCxnSpPr>
          <p:nvPr/>
        </p:nvCxnSpPr>
        <p:spPr>
          <a:xfrm>
            <a:off x="3792773" y="1766325"/>
            <a:ext cx="0" cy="8139675"/>
          </a:xfrm>
          <a:prstGeom prst="line">
            <a:avLst/>
          </a:prstGeom>
          <a:ln>
            <a:solidFill>
              <a:srgbClr val="1737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2145D546-B568-ABE3-FA2D-A21BDA0A41B6}"/>
              </a:ext>
            </a:extLst>
          </p:cNvPr>
          <p:cNvSpPr/>
          <p:nvPr/>
        </p:nvSpPr>
        <p:spPr>
          <a:xfrm rot="10800000" flipV="1">
            <a:off x="-2" y="9763358"/>
            <a:ext cx="6857998" cy="14264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5DB0E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C9FDE0F4-144C-830A-83F3-12D3D49859B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412773" y="125924"/>
            <a:ext cx="3521700" cy="2620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22572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AF4F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Single Corner Rounded 1">
            <a:extLst>
              <a:ext uri="{FF2B5EF4-FFF2-40B4-BE49-F238E27FC236}">
                <a16:creationId xmlns:a16="http://schemas.microsoft.com/office/drawing/2014/main" id="{7F0EA6A4-7C35-B573-813D-DD2A8899C3F5}"/>
              </a:ext>
            </a:extLst>
          </p:cNvPr>
          <p:cNvSpPr/>
          <p:nvPr/>
        </p:nvSpPr>
        <p:spPr>
          <a:xfrm rot="5400000">
            <a:off x="2264814" y="-2264813"/>
            <a:ext cx="2328370" cy="6857998"/>
          </a:xfrm>
          <a:prstGeom prst="round1Rect">
            <a:avLst>
              <a:gd name="adj" fmla="val 0"/>
            </a:avLst>
          </a:prstGeom>
          <a:solidFill>
            <a:srgbClr val="173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77B5EBA-7813-46F2-A913-8F385579F31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77B5EBA-7813-46F2-A913-8F385579F3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7C3377D2-1788-A656-D015-3FF3C00B8977}"/>
              </a:ext>
            </a:extLst>
          </p:cNvPr>
          <p:cNvSpPr txBox="1"/>
          <p:nvPr/>
        </p:nvSpPr>
        <p:spPr>
          <a:xfrm>
            <a:off x="396272" y="3192450"/>
            <a:ext cx="3218384" cy="1442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IN" sz="1400" dirty="0">
                <a:latin typeface="Georgia" panose="02040502050405020303" pitchFamily="18" charset="0"/>
              </a:rPr>
              <a:t>The key goal of starting any business venture is to make a profit &amp; capture a share of the market. But for business owners, long before profitability comes the key event that shows you that your business is doing well, &amp; that is the</a:t>
            </a:r>
            <a:endParaRPr lang="en-US" sz="1400" b="1" dirty="0">
              <a:solidFill>
                <a:srgbClr val="FF9629"/>
              </a:solidFill>
              <a:latin typeface="Georgia" panose="02040502050405020303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ED16EED-7A72-F9AB-645E-0909F76CF76C}"/>
              </a:ext>
            </a:extLst>
          </p:cNvPr>
          <p:cNvSpPr txBox="1"/>
          <p:nvPr/>
        </p:nvSpPr>
        <p:spPr>
          <a:xfrm>
            <a:off x="4105502" y="2538727"/>
            <a:ext cx="249124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200"/>
              </a:spcAft>
            </a:pPr>
            <a:r>
              <a:rPr lang="en-IN" sz="1600" b="1" dirty="0">
                <a:solidFill>
                  <a:srgbClr val="173787"/>
                </a:solidFill>
                <a:latin typeface="Georgia" panose="02040502050405020303" pitchFamily="18" charset="0"/>
              </a:rPr>
              <a:t>A breakeven financial template breaks down the following for you</a:t>
            </a:r>
          </a:p>
        </p:txBody>
      </p:sp>
      <p:sp>
        <p:nvSpPr>
          <p:cNvPr id="1060" name="TextBox 1059">
            <a:extLst>
              <a:ext uri="{FF2B5EF4-FFF2-40B4-BE49-F238E27FC236}">
                <a16:creationId xmlns:a16="http://schemas.microsoft.com/office/drawing/2014/main" id="{4DC2E5B9-3F04-2D69-9777-3D52BACC8391}"/>
              </a:ext>
            </a:extLst>
          </p:cNvPr>
          <p:cNvSpPr txBox="1"/>
          <p:nvPr/>
        </p:nvSpPr>
        <p:spPr>
          <a:xfrm>
            <a:off x="396272" y="4843593"/>
            <a:ext cx="301650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IN" sz="2800" b="1" dirty="0">
                <a:solidFill>
                  <a:srgbClr val="173787"/>
                </a:solidFill>
                <a:latin typeface="Georgia" panose="02040502050405020303" pitchFamily="18" charset="0"/>
              </a:rPr>
              <a:t>BREAKEVEN POINT!</a:t>
            </a:r>
            <a:endParaRPr lang="en-US" sz="2800" b="1" dirty="0">
              <a:solidFill>
                <a:srgbClr val="173787"/>
              </a:solidFill>
              <a:latin typeface="Georgia" panose="02040502050405020303" pitchFamily="18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379EFFE-17CB-B7EE-398E-B77F66B98668}"/>
              </a:ext>
            </a:extLst>
          </p:cNvPr>
          <p:cNvGrpSpPr/>
          <p:nvPr/>
        </p:nvGrpSpPr>
        <p:grpSpPr>
          <a:xfrm>
            <a:off x="3970892" y="3701886"/>
            <a:ext cx="2504250" cy="5839623"/>
            <a:chOff x="3970892" y="3670942"/>
            <a:chExt cx="2504250" cy="5839623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5B7A675E-2A33-47CA-95AE-7F3A8F2E06C7}"/>
                </a:ext>
              </a:extLst>
            </p:cNvPr>
            <p:cNvSpPr/>
            <p:nvPr/>
          </p:nvSpPr>
          <p:spPr>
            <a:xfrm>
              <a:off x="4080503" y="3780553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D9EBFB"/>
                </a:gs>
                <a:gs pos="100000">
                  <a:srgbClr val="5DB0EE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06" name="Oval 105">
              <a:extLst>
                <a:ext uri="{FF2B5EF4-FFF2-40B4-BE49-F238E27FC236}">
                  <a16:creationId xmlns:a16="http://schemas.microsoft.com/office/drawing/2014/main" id="{58A0DB50-F443-4D6E-807F-4445E3D6BF47}"/>
                </a:ext>
              </a:extLst>
            </p:cNvPr>
            <p:cNvSpPr/>
            <p:nvPr/>
          </p:nvSpPr>
          <p:spPr>
            <a:xfrm>
              <a:off x="4080503" y="4614059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1F4CB9"/>
                </a:gs>
                <a:gs pos="100000">
                  <a:srgbClr val="173787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08" name="Oval 107">
              <a:extLst>
                <a:ext uri="{FF2B5EF4-FFF2-40B4-BE49-F238E27FC236}">
                  <a16:creationId xmlns:a16="http://schemas.microsoft.com/office/drawing/2014/main" id="{42BF4B25-F6CF-4A8B-8BB8-2F57665D6F5D}"/>
                </a:ext>
              </a:extLst>
            </p:cNvPr>
            <p:cNvSpPr/>
            <p:nvPr/>
          </p:nvSpPr>
          <p:spPr>
            <a:xfrm>
              <a:off x="4080503" y="5445758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D9EBFB"/>
                </a:gs>
                <a:gs pos="100000">
                  <a:srgbClr val="5DB0EE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12" name="Oval 111">
              <a:extLst>
                <a:ext uri="{FF2B5EF4-FFF2-40B4-BE49-F238E27FC236}">
                  <a16:creationId xmlns:a16="http://schemas.microsoft.com/office/drawing/2014/main" id="{69892ECC-2860-41AC-8F48-BD315CB0702D}"/>
                </a:ext>
              </a:extLst>
            </p:cNvPr>
            <p:cNvSpPr/>
            <p:nvPr/>
          </p:nvSpPr>
          <p:spPr>
            <a:xfrm>
              <a:off x="4080503" y="6279264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1F4CB9"/>
                </a:gs>
                <a:gs pos="100000">
                  <a:srgbClr val="173787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14" name="Oval 113">
              <a:extLst>
                <a:ext uri="{FF2B5EF4-FFF2-40B4-BE49-F238E27FC236}">
                  <a16:creationId xmlns:a16="http://schemas.microsoft.com/office/drawing/2014/main" id="{F4C4D48C-C91F-4E2C-AAED-18E06B81C6DD}"/>
                </a:ext>
              </a:extLst>
            </p:cNvPr>
            <p:cNvSpPr/>
            <p:nvPr/>
          </p:nvSpPr>
          <p:spPr>
            <a:xfrm>
              <a:off x="4080503" y="7110962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D9EBFB"/>
                </a:gs>
                <a:gs pos="100000">
                  <a:srgbClr val="5DB0EE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9769640F-262D-46C2-B4A5-2E382CB172D6}"/>
                </a:ext>
              </a:extLst>
            </p:cNvPr>
            <p:cNvSpPr/>
            <p:nvPr/>
          </p:nvSpPr>
          <p:spPr>
            <a:xfrm>
              <a:off x="4080503" y="7944469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1F4CB9"/>
                </a:gs>
                <a:gs pos="100000">
                  <a:srgbClr val="173787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4D2D00A0-0D09-4C57-A20A-4A6EB2D504FA}"/>
                </a:ext>
              </a:extLst>
            </p:cNvPr>
            <p:cNvSpPr/>
            <p:nvPr/>
          </p:nvSpPr>
          <p:spPr>
            <a:xfrm>
              <a:off x="4080503" y="8776167"/>
              <a:ext cx="615262" cy="615262"/>
            </a:xfrm>
            <a:prstGeom prst="ellipse">
              <a:avLst/>
            </a:prstGeom>
            <a:gradFill flip="none" rotWithShape="1">
              <a:gsLst>
                <a:gs pos="0">
                  <a:srgbClr val="D9EBFB"/>
                </a:gs>
                <a:gs pos="100000">
                  <a:srgbClr val="5DB0EE"/>
                </a:gs>
              </a:gsLst>
              <a:lin ang="16200000" scaled="1"/>
              <a:tileRect/>
            </a:gradFill>
            <a:ln w="13716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IN">
                <a:solidFill>
                  <a:schemeClr val="tx1"/>
                </a:solidFill>
              </a:endParaRPr>
            </a:p>
          </p:txBody>
        </p:sp>
        <p:sp>
          <p:nvSpPr>
            <p:cNvPr id="23" name="Arc 22">
              <a:extLst>
                <a:ext uri="{FF2B5EF4-FFF2-40B4-BE49-F238E27FC236}">
                  <a16:creationId xmlns:a16="http://schemas.microsoft.com/office/drawing/2014/main" id="{7463DD9C-E22A-45A4-A3D3-4AE15993E7ED}"/>
                </a:ext>
              </a:extLst>
            </p:cNvPr>
            <p:cNvSpPr/>
            <p:nvPr/>
          </p:nvSpPr>
          <p:spPr>
            <a:xfrm flipH="1">
              <a:off x="3970892" y="367094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5DB0E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7" name="Arc 106">
              <a:extLst>
                <a:ext uri="{FF2B5EF4-FFF2-40B4-BE49-F238E27FC236}">
                  <a16:creationId xmlns:a16="http://schemas.microsoft.com/office/drawing/2014/main" id="{03340082-7332-4089-B21E-8E5C4C0CE358}"/>
                </a:ext>
              </a:extLst>
            </p:cNvPr>
            <p:cNvSpPr/>
            <p:nvPr/>
          </p:nvSpPr>
          <p:spPr>
            <a:xfrm>
              <a:off x="3970892" y="450513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1F4C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9" name="Arc 108">
              <a:extLst>
                <a:ext uri="{FF2B5EF4-FFF2-40B4-BE49-F238E27FC236}">
                  <a16:creationId xmlns:a16="http://schemas.microsoft.com/office/drawing/2014/main" id="{360DABBC-171A-4E18-965C-1F8F61A5CDBF}"/>
                </a:ext>
              </a:extLst>
            </p:cNvPr>
            <p:cNvSpPr/>
            <p:nvPr/>
          </p:nvSpPr>
          <p:spPr>
            <a:xfrm flipH="1">
              <a:off x="3970892" y="533932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5DB0E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13" name="Arc 112">
              <a:extLst>
                <a:ext uri="{FF2B5EF4-FFF2-40B4-BE49-F238E27FC236}">
                  <a16:creationId xmlns:a16="http://schemas.microsoft.com/office/drawing/2014/main" id="{1FCF6282-0808-4554-BA56-1877B269FAF3}"/>
                </a:ext>
              </a:extLst>
            </p:cNvPr>
            <p:cNvSpPr/>
            <p:nvPr/>
          </p:nvSpPr>
          <p:spPr>
            <a:xfrm>
              <a:off x="3970892" y="617351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1F4C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15" name="Arc 114">
              <a:extLst>
                <a:ext uri="{FF2B5EF4-FFF2-40B4-BE49-F238E27FC236}">
                  <a16:creationId xmlns:a16="http://schemas.microsoft.com/office/drawing/2014/main" id="{4E506E3B-A726-4CAB-BFD0-9F979AD4546D}"/>
                </a:ext>
              </a:extLst>
            </p:cNvPr>
            <p:cNvSpPr/>
            <p:nvPr/>
          </p:nvSpPr>
          <p:spPr>
            <a:xfrm flipH="1">
              <a:off x="3970892" y="700770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5DB0E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18" name="Arc 117">
              <a:extLst>
                <a:ext uri="{FF2B5EF4-FFF2-40B4-BE49-F238E27FC236}">
                  <a16:creationId xmlns:a16="http://schemas.microsoft.com/office/drawing/2014/main" id="{8AF8F117-6D0B-4EFC-A88B-4EBC7B49ACF6}"/>
                </a:ext>
              </a:extLst>
            </p:cNvPr>
            <p:cNvSpPr/>
            <p:nvPr/>
          </p:nvSpPr>
          <p:spPr>
            <a:xfrm>
              <a:off x="3970892" y="7841892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1F4C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20" name="Arc 119">
              <a:extLst>
                <a:ext uri="{FF2B5EF4-FFF2-40B4-BE49-F238E27FC236}">
                  <a16:creationId xmlns:a16="http://schemas.microsoft.com/office/drawing/2014/main" id="{92F27D91-58BE-43CC-9D35-59C1C6905C5D}"/>
                </a:ext>
              </a:extLst>
            </p:cNvPr>
            <p:cNvSpPr/>
            <p:nvPr/>
          </p:nvSpPr>
          <p:spPr>
            <a:xfrm flipH="1">
              <a:off x="3970892" y="8676081"/>
              <a:ext cx="834484" cy="834484"/>
            </a:xfrm>
            <a:prstGeom prst="arc">
              <a:avLst>
                <a:gd name="adj1" fmla="val 16200000"/>
                <a:gd name="adj2" fmla="val 5426310"/>
              </a:avLst>
            </a:prstGeom>
            <a:ln w="19050">
              <a:solidFill>
                <a:srgbClr val="5DB0E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1027" name="TextBox 1026">
              <a:extLst>
                <a:ext uri="{FF2B5EF4-FFF2-40B4-BE49-F238E27FC236}">
                  <a16:creationId xmlns:a16="http://schemas.microsoft.com/office/drawing/2014/main" id="{D70A7A42-CECC-172C-4AE4-B9A6BE152CCF}"/>
                </a:ext>
              </a:extLst>
            </p:cNvPr>
            <p:cNvSpPr txBox="1"/>
            <p:nvPr/>
          </p:nvSpPr>
          <p:spPr>
            <a:xfrm>
              <a:off x="4942856" y="3872740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Initial investment needed</a:t>
              </a:r>
            </a:p>
          </p:txBody>
        </p:sp>
        <p:sp>
          <p:nvSpPr>
            <p:cNvPr id="1032" name="TextBox 1031">
              <a:extLst>
                <a:ext uri="{FF2B5EF4-FFF2-40B4-BE49-F238E27FC236}">
                  <a16:creationId xmlns:a16="http://schemas.microsoft.com/office/drawing/2014/main" id="{0A0048D4-CA69-50FC-1208-A19D86007663}"/>
                </a:ext>
              </a:extLst>
            </p:cNvPr>
            <p:cNvSpPr txBox="1"/>
            <p:nvPr/>
          </p:nvSpPr>
          <p:spPr>
            <a:xfrm>
              <a:off x="4942856" y="4706247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Runway capital required</a:t>
              </a:r>
            </a:p>
          </p:txBody>
        </p:sp>
        <p:sp>
          <p:nvSpPr>
            <p:cNvPr id="1033" name="TextBox 1032">
              <a:extLst>
                <a:ext uri="{FF2B5EF4-FFF2-40B4-BE49-F238E27FC236}">
                  <a16:creationId xmlns:a16="http://schemas.microsoft.com/office/drawing/2014/main" id="{53943BD7-4211-9CB7-747A-F1595685D81C}"/>
                </a:ext>
              </a:extLst>
            </p:cNvPr>
            <p:cNvSpPr txBox="1"/>
            <p:nvPr/>
          </p:nvSpPr>
          <p:spPr>
            <a:xfrm>
              <a:off x="4942856" y="5537945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Scope &amp; scale of the business</a:t>
              </a:r>
            </a:p>
          </p:txBody>
        </p:sp>
        <p:sp>
          <p:nvSpPr>
            <p:cNvPr id="1036" name="TextBox 1035">
              <a:extLst>
                <a:ext uri="{FF2B5EF4-FFF2-40B4-BE49-F238E27FC236}">
                  <a16:creationId xmlns:a16="http://schemas.microsoft.com/office/drawing/2014/main" id="{1DD87450-F866-9309-2A79-C10422243A69}"/>
                </a:ext>
              </a:extLst>
            </p:cNvPr>
            <p:cNvSpPr txBox="1"/>
            <p:nvPr/>
          </p:nvSpPr>
          <p:spPr>
            <a:xfrm>
              <a:off x="4942856" y="6371451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Expenses &amp; burden on investors </a:t>
              </a:r>
            </a:p>
          </p:txBody>
        </p:sp>
        <p:sp>
          <p:nvSpPr>
            <p:cNvPr id="1037" name="TextBox 1036">
              <a:extLst>
                <a:ext uri="{FF2B5EF4-FFF2-40B4-BE49-F238E27FC236}">
                  <a16:creationId xmlns:a16="http://schemas.microsoft.com/office/drawing/2014/main" id="{F3BED6E3-D2E3-836B-D952-D244D6808F5B}"/>
                </a:ext>
              </a:extLst>
            </p:cNvPr>
            <p:cNvSpPr txBox="1"/>
            <p:nvPr/>
          </p:nvSpPr>
          <p:spPr>
            <a:xfrm>
              <a:off x="4942856" y="7203150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When to get investors </a:t>
              </a:r>
            </a:p>
          </p:txBody>
        </p:sp>
        <p:sp>
          <p:nvSpPr>
            <p:cNvPr id="1038" name="TextBox 1037">
              <a:extLst>
                <a:ext uri="{FF2B5EF4-FFF2-40B4-BE49-F238E27FC236}">
                  <a16:creationId xmlns:a16="http://schemas.microsoft.com/office/drawing/2014/main" id="{9460AD8C-96B9-74AC-FCBF-9A576187ABE9}"/>
                </a:ext>
              </a:extLst>
            </p:cNvPr>
            <p:cNvSpPr txBox="1"/>
            <p:nvPr/>
          </p:nvSpPr>
          <p:spPr>
            <a:xfrm>
              <a:off x="4942856" y="8036656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Time taken for making a profit</a:t>
              </a:r>
            </a:p>
          </p:txBody>
        </p:sp>
        <p:sp>
          <p:nvSpPr>
            <p:cNvPr id="1039" name="TextBox 1038">
              <a:extLst>
                <a:ext uri="{FF2B5EF4-FFF2-40B4-BE49-F238E27FC236}">
                  <a16:creationId xmlns:a16="http://schemas.microsoft.com/office/drawing/2014/main" id="{A52B46C9-7915-32A6-52FD-F9D9F03A5636}"/>
                </a:ext>
              </a:extLst>
            </p:cNvPr>
            <p:cNvSpPr txBox="1"/>
            <p:nvPr/>
          </p:nvSpPr>
          <p:spPr>
            <a:xfrm>
              <a:off x="4942856" y="8868353"/>
              <a:ext cx="1532286" cy="430887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>
                <a:spcAft>
                  <a:spcPts val="200"/>
                </a:spcAft>
              </a:pPr>
              <a:r>
                <a:rPr lang="en-IN" sz="1400" dirty="0">
                  <a:latin typeface="Georgia" panose="02040502050405020303" pitchFamily="18" charset="0"/>
                </a:rPr>
                <a:t>Modify &amp; prune expenditures</a:t>
              </a:r>
            </a:p>
          </p:txBody>
        </p:sp>
        <p:sp>
          <p:nvSpPr>
            <p:cNvPr id="1045" name="Freeform: Shape 1044">
              <a:extLst>
                <a:ext uri="{FF2B5EF4-FFF2-40B4-BE49-F238E27FC236}">
                  <a16:creationId xmlns:a16="http://schemas.microsoft.com/office/drawing/2014/main" id="{EA3B5DFC-7874-CC09-922E-062999CC769F}"/>
                </a:ext>
              </a:extLst>
            </p:cNvPr>
            <p:cNvSpPr/>
            <p:nvPr/>
          </p:nvSpPr>
          <p:spPr>
            <a:xfrm>
              <a:off x="4261418" y="3910062"/>
              <a:ext cx="253432" cy="356244"/>
            </a:xfrm>
            <a:custGeom>
              <a:avLst/>
              <a:gdLst>
                <a:gd name="connsiteX0" fmla="*/ 3549277 w 3624597"/>
                <a:gd name="connsiteY0" fmla="*/ 3380049 h 5095070"/>
                <a:gd name="connsiteX1" fmla="*/ 3357547 w 3624597"/>
                <a:gd name="connsiteY1" fmla="*/ 3380049 h 5095070"/>
                <a:gd name="connsiteX2" fmla="*/ 3357547 w 3624597"/>
                <a:gd name="connsiteY2" fmla="*/ 2756931 h 5095070"/>
                <a:gd name="connsiteX3" fmla="*/ 3282461 w 3624597"/>
                <a:gd name="connsiteY3" fmla="*/ 2681885 h 5095070"/>
                <a:gd name="connsiteX4" fmla="*/ 2382153 w 3624597"/>
                <a:gd name="connsiteY4" fmla="*/ 2681885 h 5095070"/>
                <a:gd name="connsiteX5" fmla="*/ 2382153 w 3624597"/>
                <a:gd name="connsiteY5" fmla="*/ 2531714 h 5095070"/>
                <a:gd name="connsiteX6" fmla="*/ 3073537 w 3624597"/>
                <a:gd name="connsiteY6" fmla="*/ 2377605 h 5095070"/>
                <a:gd name="connsiteX7" fmla="*/ 3329791 w 3624597"/>
                <a:gd name="connsiteY7" fmla="*/ 1717258 h 5095070"/>
                <a:gd name="connsiteX8" fmla="*/ 3324697 w 3624597"/>
                <a:gd name="connsiteY8" fmla="*/ 1673935 h 5095070"/>
                <a:gd name="connsiteX9" fmla="*/ 3284283 w 3624597"/>
                <a:gd name="connsiteY9" fmla="*/ 1656594 h 5095070"/>
                <a:gd name="connsiteX10" fmla="*/ 2536644 w 3624597"/>
                <a:gd name="connsiteY10" fmla="*/ 1747531 h 5095070"/>
                <a:gd name="connsiteX11" fmla="*/ 2382800 w 3624597"/>
                <a:gd name="connsiteY11" fmla="*/ 1904550 h 5095070"/>
                <a:gd name="connsiteX12" fmla="*/ 2381928 w 3624597"/>
                <a:gd name="connsiteY12" fmla="*/ 1896624 h 5095070"/>
                <a:gd name="connsiteX13" fmla="*/ 2381928 w 3624597"/>
                <a:gd name="connsiteY13" fmla="*/ 1299958 h 5095070"/>
                <a:gd name="connsiteX14" fmla="*/ 2704009 w 3624597"/>
                <a:gd name="connsiteY14" fmla="*/ 640415 h 5095070"/>
                <a:gd name="connsiteX15" fmla="*/ 2310898 w 3624597"/>
                <a:gd name="connsiteY15" fmla="*/ 20628 h 5095070"/>
                <a:gd name="connsiteX16" fmla="*/ 2272777 w 3624597"/>
                <a:gd name="connsiteY16" fmla="*/ 0 h 5095070"/>
                <a:gd name="connsiteX17" fmla="*/ 2235882 w 3624597"/>
                <a:gd name="connsiteY17" fmla="*/ 22694 h 5095070"/>
                <a:gd name="connsiteX18" fmla="*/ 1877786 w 3624597"/>
                <a:gd name="connsiteY18" fmla="*/ 661497 h 5095070"/>
                <a:gd name="connsiteX19" fmla="*/ 2231904 w 3624597"/>
                <a:gd name="connsiteY19" fmla="*/ 1302486 h 5095070"/>
                <a:gd name="connsiteX20" fmla="*/ 2231904 w 3624597"/>
                <a:gd name="connsiteY20" fmla="*/ 1521472 h 5095070"/>
                <a:gd name="connsiteX21" fmla="*/ 1826204 w 3624597"/>
                <a:gd name="connsiteY21" fmla="*/ 1250326 h 5095070"/>
                <a:gd name="connsiteX22" fmla="*/ 1339521 w 3624597"/>
                <a:gd name="connsiteY22" fmla="*/ 1285615 h 5095070"/>
                <a:gd name="connsiteX23" fmla="*/ 1299608 w 3624597"/>
                <a:gd name="connsiteY23" fmla="*/ 1302604 h 5095070"/>
                <a:gd name="connsiteX24" fmla="*/ 1294484 w 3624597"/>
                <a:gd name="connsiteY24" fmla="*/ 1345584 h 5095070"/>
                <a:gd name="connsiteX25" fmla="*/ 1545996 w 3624597"/>
                <a:gd name="connsiteY25" fmla="*/ 2003560 h 5095070"/>
                <a:gd name="connsiteX26" fmla="*/ 2232139 w 3624597"/>
                <a:gd name="connsiteY26" fmla="*/ 2163028 h 5095070"/>
                <a:gd name="connsiteX27" fmla="*/ 2232139 w 3624597"/>
                <a:gd name="connsiteY27" fmla="*/ 2681934 h 5095070"/>
                <a:gd name="connsiteX28" fmla="*/ 1288165 w 3624597"/>
                <a:gd name="connsiteY28" fmla="*/ 2681934 h 5095070"/>
                <a:gd name="connsiteX29" fmla="*/ 1213079 w 3624597"/>
                <a:gd name="connsiteY29" fmla="*/ 2757019 h 5095070"/>
                <a:gd name="connsiteX30" fmla="*/ 1213079 w 3624597"/>
                <a:gd name="connsiteY30" fmla="*/ 2922767 h 5095070"/>
                <a:gd name="connsiteX31" fmla="*/ 277491 w 3624597"/>
                <a:gd name="connsiteY31" fmla="*/ 3278982 h 5095070"/>
                <a:gd name="connsiteX32" fmla="*/ 27439 w 3624597"/>
                <a:gd name="connsiteY32" fmla="*/ 4248360 h 5095070"/>
                <a:gd name="connsiteX33" fmla="*/ 674050 w 3624597"/>
                <a:gd name="connsiteY33" fmla="*/ 5012694 h 5095070"/>
                <a:gd name="connsiteX34" fmla="*/ 1671498 w 3624597"/>
                <a:gd name="connsiteY34" fmla="*/ 4926734 h 5095070"/>
                <a:gd name="connsiteX35" fmla="*/ 3282736 w 3624597"/>
                <a:gd name="connsiteY35" fmla="*/ 4926734 h 5095070"/>
                <a:gd name="connsiteX36" fmla="*/ 3282696 w 3624597"/>
                <a:gd name="connsiteY36" fmla="*/ 4926734 h 5095070"/>
                <a:gd name="connsiteX37" fmla="*/ 3357782 w 3624597"/>
                <a:gd name="connsiteY37" fmla="*/ 4851648 h 5095070"/>
                <a:gd name="connsiteX38" fmla="*/ 3357782 w 3624597"/>
                <a:gd name="connsiteY38" fmla="*/ 4227962 h 5095070"/>
                <a:gd name="connsiteX39" fmla="*/ 3549512 w 3624597"/>
                <a:gd name="connsiteY39" fmla="*/ 4227962 h 5095070"/>
                <a:gd name="connsiteX40" fmla="*/ 3624597 w 3624597"/>
                <a:gd name="connsiteY40" fmla="*/ 4152877 h 5095070"/>
                <a:gd name="connsiteX41" fmla="*/ 3624597 w 3624597"/>
                <a:gd name="connsiteY41" fmla="*/ 3455056 h 5095070"/>
                <a:gd name="connsiteX42" fmla="*/ 3602475 w 3624597"/>
                <a:gd name="connsiteY42" fmla="*/ 3401896 h 5095070"/>
                <a:gd name="connsiteX43" fmla="*/ 3549237 w 3624597"/>
                <a:gd name="connsiteY43" fmla="*/ 3380049 h 5095070"/>
                <a:gd name="connsiteX44" fmla="*/ 2028270 w 3624597"/>
                <a:gd name="connsiteY44" fmla="*/ 680054 h 5095070"/>
                <a:gd name="connsiteX45" fmla="*/ 2277794 w 3624597"/>
                <a:gd name="connsiteY45" fmla="*/ 174962 h 5095070"/>
                <a:gd name="connsiteX46" fmla="*/ 2555210 w 3624597"/>
                <a:gd name="connsiteY46" fmla="*/ 665780 h 5095070"/>
                <a:gd name="connsiteX47" fmla="*/ 2304844 w 3624597"/>
                <a:gd name="connsiteY47" fmla="*/ 1170940 h 5095070"/>
                <a:gd name="connsiteX48" fmla="*/ 2028270 w 3624597"/>
                <a:gd name="connsiteY48" fmla="*/ 680054 h 5095070"/>
                <a:gd name="connsiteX49" fmla="*/ 2627385 w 3624597"/>
                <a:gd name="connsiteY49" fmla="*/ 1867566 h 5095070"/>
                <a:gd name="connsiteX50" fmla="*/ 3184333 w 3624597"/>
                <a:gd name="connsiteY50" fmla="*/ 1779205 h 5095070"/>
                <a:gd name="connsiteX51" fmla="*/ 2944499 w 3624597"/>
                <a:gd name="connsiteY51" fmla="*/ 2289186 h 5095070"/>
                <a:gd name="connsiteX52" fmla="*/ 2387904 w 3624597"/>
                <a:gd name="connsiteY52" fmla="*/ 2377556 h 5095070"/>
                <a:gd name="connsiteX53" fmla="*/ 2627395 w 3624597"/>
                <a:gd name="connsiteY53" fmla="*/ 1867566 h 5095070"/>
                <a:gd name="connsiteX54" fmla="*/ 1680276 w 3624597"/>
                <a:gd name="connsiteY54" fmla="*/ 1917737 h 5095070"/>
                <a:gd name="connsiteX55" fmla="*/ 1680237 w 3624597"/>
                <a:gd name="connsiteY55" fmla="*/ 1917737 h 5095070"/>
                <a:gd name="connsiteX56" fmla="*/ 1440167 w 3624597"/>
                <a:gd name="connsiteY56" fmla="*/ 1407678 h 5095070"/>
                <a:gd name="connsiteX57" fmla="*/ 1956967 w 3624597"/>
                <a:gd name="connsiteY57" fmla="*/ 1468724 h 5095070"/>
                <a:gd name="connsiteX58" fmla="*/ 2232590 w 3624597"/>
                <a:gd name="connsiteY58" fmla="*/ 1910134 h 5095070"/>
                <a:gd name="connsiteX59" fmla="*/ 2232590 w 3624597"/>
                <a:gd name="connsiteY59" fmla="*/ 2007302 h 5095070"/>
                <a:gd name="connsiteX60" fmla="*/ 1679776 w 3624597"/>
                <a:gd name="connsiteY60" fmla="*/ 1917786 h 5095070"/>
                <a:gd name="connsiteX61" fmla="*/ 1363172 w 3624597"/>
                <a:gd name="connsiteY61" fmla="*/ 2831899 h 5095070"/>
                <a:gd name="connsiteX62" fmla="*/ 3207582 w 3624597"/>
                <a:gd name="connsiteY62" fmla="*/ 2831899 h 5095070"/>
                <a:gd name="connsiteX63" fmla="*/ 3207582 w 3624597"/>
                <a:gd name="connsiteY63" fmla="*/ 3379960 h 5095070"/>
                <a:gd name="connsiteX64" fmla="*/ 1983233 w 3624597"/>
                <a:gd name="connsiteY64" fmla="*/ 3379960 h 5095070"/>
                <a:gd name="connsiteX65" fmla="*/ 1363181 w 3624597"/>
                <a:gd name="connsiteY65" fmla="*/ 2950797 h 5095070"/>
                <a:gd name="connsiteX66" fmla="*/ 151853 w 3624597"/>
                <a:gd name="connsiteY66" fmla="*/ 4005107 h 5095070"/>
                <a:gd name="connsiteX67" fmla="*/ 426976 w 3624597"/>
                <a:gd name="connsiteY67" fmla="*/ 3340429 h 5095070"/>
                <a:gd name="connsiteX68" fmla="*/ 1091457 w 3624597"/>
                <a:gd name="connsiteY68" fmla="*/ 3064963 h 5095070"/>
                <a:gd name="connsiteX69" fmla="*/ 1756135 w 3624597"/>
                <a:gd name="connsiteY69" fmla="*/ 3340008 h 5095070"/>
                <a:gd name="connsiteX70" fmla="*/ 2031680 w 3624597"/>
                <a:gd name="connsiteY70" fmla="*/ 4004489 h 5095070"/>
                <a:gd name="connsiteX71" fmla="*/ 1756674 w 3624597"/>
                <a:gd name="connsiteY71" fmla="*/ 4669167 h 5095070"/>
                <a:gd name="connsiteX72" fmla="*/ 1092232 w 3624597"/>
                <a:gd name="connsiteY72" fmla="*/ 4944750 h 5095070"/>
                <a:gd name="connsiteX73" fmla="*/ 427829 w 3624597"/>
                <a:gd name="connsiteY73" fmla="*/ 4669284 h 5095070"/>
                <a:gd name="connsiteX74" fmla="*/ 151863 w 3624597"/>
                <a:gd name="connsiteY74" fmla="*/ 4005107 h 5095070"/>
                <a:gd name="connsiteX75" fmla="*/ 3207582 w 3624597"/>
                <a:gd name="connsiteY75" fmla="*/ 4776553 h 5095070"/>
                <a:gd name="connsiteX76" fmla="*/ 1861062 w 3624597"/>
                <a:gd name="connsiteY76" fmla="*/ 4776553 h 5095070"/>
                <a:gd name="connsiteX77" fmla="*/ 2158494 w 3624597"/>
                <a:gd name="connsiteY77" fmla="*/ 4228413 h 5095070"/>
                <a:gd name="connsiteX78" fmla="*/ 3207572 w 3624597"/>
                <a:gd name="connsiteY78" fmla="*/ 4228413 h 5095070"/>
                <a:gd name="connsiteX79" fmla="*/ 3474329 w 3624597"/>
                <a:gd name="connsiteY79" fmla="*/ 4078467 h 5095070"/>
                <a:gd name="connsiteX80" fmla="*/ 2177971 w 3624597"/>
                <a:gd name="connsiteY80" fmla="*/ 4078428 h 5095070"/>
                <a:gd name="connsiteX81" fmla="*/ 2181684 w 3624597"/>
                <a:gd name="connsiteY81" fmla="*/ 4005371 h 5095070"/>
                <a:gd name="connsiteX82" fmla="*/ 2071201 w 3624597"/>
                <a:gd name="connsiteY82" fmla="*/ 3530327 h 5095070"/>
                <a:gd name="connsiteX83" fmla="*/ 3474544 w 3624597"/>
                <a:gd name="connsiteY83" fmla="*/ 3530327 h 5095070"/>
                <a:gd name="connsiteX84" fmla="*/ 951270 w 3624597"/>
                <a:gd name="connsiteY84" fmla="*/ 3789716 h 5095070"/>
                <a:gd name="connsiteX85" fmla="*/ 951231 w 3624597"/>
                <a:gd name="connsiteY85" fmla="*/ 3789677 h 5095070"/>
                <a:gd name="connsiteX86" fmla="*/ 992604 w 3624597"/>
                <a:gd name="connsiteY86" fmla="*/ 3889216 h 5095070"/>
                <a:gd name="connsiteX87" fmla="*/ 1092222 w 3624597"/>
                <a:gd name="connsiteY87" fmla="*/ 3930472 h 5095070"/>
                <a:gd name="connsiteX88" fmla="*/ 1329920 w 3624597"/>
                <a:gd name="connsiteY88" fmla="*/ 4054200 h 5095070"/>
                <a:gd name="connsiteX89" fmla="*/ 1364896 w 3624597"/>
                <a:gd name="connsiteY89" fmla="*/ 4319869 h 5095070"/>
                <a:gd name="connsiteX90" fmla="*/ 1167307 w 3624597"/>
                <a:gd name="connsiteY90" fmla="*/ 4500891 h 5095070"/>
                <a:gd name="connsiteX91" fmla="*/ 1167307 w 3624597"/>
                <a:gd name="connsiteY91" fmla="*/ 4653746 h 5095070"/>
                <a:gd name="connsiteX92" fmla="*/ 1092222 w 3624597"/>
                <a:gd name="connsiteY92" fmla="*/ 4728831 h 5095070"/>
                <a:gd name="connsiteX93" fmla="*/ 1017136 w 3624597"/>
                <a:gd name="connsiteY93" fmla="*/ 4653746 h 5095070"/>
                <a:gd name="connsiteX94" fmla="*/ 1017136 w 3624597"/>
                <a:gd name="connsiteY94" fmla="*/ 4500587 h 5095070"/>
                <a:gd name="connsiteX95" fmla="*/ 861685 w 3624597"/>
                <a:gd name="connsiteY95" fmla="*/ 4397335 h 5095070"/>
                <a:gd name="connsiteX96" fmla="*/ 801139 w 3624597"/>
                <a:gd name="connsiteY96" fmla="*/ 4220791 h 5095070"/>
                <a:gd name="connsiteX97" fmla="*/ 876224 w 3624597"/>
                <a:gd name="connsiteY97" fmla="*/ 4145705 h 5095070"/>
                <a:gd name="connsiteX98" fmla="*/ 951309 w 3624597"/>
                <a:gd name="connsiteY98" fmla="*/ 4220791 h 5095070"/>
                <a:gd name="connsiteX99" fmla="*/ 992526 w 3624597"/>
                <a:gd name="connsiteY99" fmla="*/ 4319987 h 5095070"/>
                <a:gd name="connsiteX100" fmla="*/ 1091800 w 3624597"/>
                <a:gd name="connsiteY100" fmla="*/ 4361047 h 5095070"/>
                <a:gd name="connsiteX101" fmla="*/ 1191075 w 3624597"/>
                <a:gd name="connsiteY101" fmla="*/ 4319987 h 5095070"/>
                <a:gd name="connsiteX102" fmla="*/ 1232331 w 3624597"/>
                <a:gd name="connsiteY102" fmla="*/ 4220791 h 5095070"/>
                <a:gd name="connsiteX103" fmla="*/ 1191418 w 3624597"/>
                <a:gd name="connsiteY103" fmla="*/ 4121438 h 5095070"/>
                <a:gd name="connsiteX104" fmla="*/ 1092310 w 3624597"/>
                <a:gd name="connsiteY104" fmla="*/ 4080035 h 5095070"/>
                <a:gd name="connsiteX105" fmla="*/ 853916 w 3624597"/>
                <a:gd name="connsiteY105" fmla="*/ 3956562 h 5095070"/>
                <a:gd name="connsiteX106" fmla="*/ 818901 w 3624597"/>
                <a:gd name="connsiteY106" fmla="*/ 3690432 h 5095070"/>
                <a:gd name="connsiteX107" fmla="*/ 1017215 w 3624597"/>
                <a:gd name="connsiteY107" fmla="*/ 3509489 h 5095070"/>
                <a:gd name="connsiteX108" fmla="*/ 1017215 w 3624597"/>
                <a:gd name="connsiteY108" fmla="*/ 3356790 h 5095070"/>
                <a:gd name="connsiteX109" fmla="*/ 1092300 w 3624597"/>
                <a:gd name="connsiteY109" fmla="*/ 3281744 h 5095070"/>
                <a:gd name="connsiteX110" fmla="*/ 1167356 w 3624597"/>
                <a:gd name="connsiteY110" fmla="*/ 3356790 h 5095070"/>
                <a:gd name="connsiteX111" fmla="*/ 1167356 w 3624597"/>
                <a:gd name="connsiteY111" fmla="*/ 3509567 h 5095070"/>
                <a:gd name="connsiteX112" fmla="*/ 1322239 w 3624597"/>
                <a:gd name="connsiteY112" fmla="*/ 3613025 h 5095070"/>
                <a:gd name="connsiteX113" fmla="*/ 1382433 w 3624597"/>
                <a:gd name="connsiteY113" fmla="*/ 3789246 h 5095070"/>
                <a:gd name="connsiteX114" fmla="*/ 1307347 w 3624597"/>
                <a:gd name="connsiteY114" fmla="*/ 3864341 h 5095070"/>
                <a:gd name="connsiteX115" fmla="*/ 1232262 w 3624597"/>
                <a:gd name="connsiteY115" fmla="*/ 3789246 h 5095070"/>
                <a:gd name="connsiteX116" fmla="*/ 1192153 w 3624597"/>
                <a:gd name="connsiteY116" fmla="*/ 3688071 h 5095070"/>
                <a:gd name="connsiteX117" fmla="*/ 1091810 w 3624597"/>
                <a:gd name="connsiteY117" fmla="*/ 3645894 h 5095070"/>
                <a:gd name="connsiteX118" fmla="*/ 991429 w 3624597"/>
                <a:gd name="connsiteY118" fmla="*/ 3688071 h 5095070"/>
                <a:gd name="connsiteX119" fmla="*/ 951319 w 3624597"/>
                <a:gd name="connsiteY119" fmla="*/ 3789246 h 5095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3624597" h="5095070">
                  <a:moveTo>
                    <a:pt x="3549277" y="3380049"/>
                  </a:moveTo>
                  <a:lnTo>
                    <a:pt x="3357547" y="3380049"/>
                  </a:lnTo>
                  <a:lnTo>
                    <a:pt x="3357547" y="2756931"/>
                  </a:lnTo>
                  <a:cubicBezTo>
                    <a:pt x="3357547" y="2715489"/>
                    <a:pt x="3323903" y="2681885"/>
                    <a:pt x="3282461" y="2681885"/>
                  </a:cubicBezTo>
                  <a:lnTo>
                    <a:pt x="2382153" y="2681885"/>
                  </a:lnTo>
                  <a:lnTo>
                    <a:pt x="2382153" y="2531714"/>
                  </a:lnTo>
                  <a:cubicBezTo>
                    <a:pt x="2623907" y="2598952"/>
                    <a:pt x="2883257" y="2541168"/>
                    <a:pt x="3073537" y="2377605"/>
                  </a:cubicBezTo>
                  <a:cubicBezTo>
                    <a:pt x="3263817" y="2214081"/>
                    <a:pt x="3359947" y="1966350"/>
                    <a:pt x="3329791" y="1717258"/>
                  </a:cubicBezTo>
                  <a:lnTo>
                    <a:pt x="3324697" y="1673935"/>
                  </a:lnTo>
                  <a:lnTo>
                    <a:pt x="3284283" y="1656594"/>
                  </a:lnTo>
                  <a:cubicBezTo>
                    <a:pt x="3036641" y="1551882"/>
                    <a:pt x="2751985" y="1586486"/>
                    <a:pt x="2536644" y="1747531"/>
                  </a:cubicBezTo>
                  <a:cubicBezTo>
                    <a:pt x="2477900" y="1792000"/>
                    <a:pt x="2426083" y="1844925"/>
                    <a:pt x="2382800" y="1904550"/>
                  </a:cubicBezTo>
                  <a:lnTo>
                    <a:pt x="2381928" y="1896624"/>
                  </a:lnTo>
                  <a:lnTo>
                    <a:pt x="2381928" y="1299958"/>
                  </a:lnTo>
                  <a:cubicBezTo>
                    <a:pt x="2596583" y="1150973"/>
                    <a:pt x="2718508" y="901303"/>
                    <a:pt x="2704009" y="640415"/>
                  </a:cubicBezTo>
                  <a:cubicBezTo>
                    <a:pt x="2689538" y="379566"/>
                    <a:pt x="2540710" y="144934"/>
                    <a:pt x="2310898" y="20628"/>
                  </a:cubicBezTo>
                  <a:lnTo>
                    <a:pt x="2272777" y="0"/>
                  </a:lnTo>
                  <a:lnTo>
                    <a:pt x="2235882" y="22694"/>
                  </a:lnTo>
                  <a:cubicBezTo>
                    <a:pt x="2014025" y="159354"/>
                    <a:pt x="1878590" y="400952"/>
                    <a:pt x="1877786" y="661497"/>
                  </a:cubicBezTo>
                  <a:cubicBezTo>
                    <a:pt x="1876944" y="922043"/>
                    <a:pt x="2010890" y="1164484"/>
                    <a:pt x="2231904" y="1302486"/>
                  </a:cubicBezTo>
                  <a:lnTo>
                    <a:pt x="2231904" y="1521472"/>
                  </a:lnTo>
                  <a:cubicBezTo>
                    <a:pt x="2130601" y="1388485"/>
                    <a:pt x="1987857" y="1293042"/>
                    <a:pt x="1826204" y="1250326"/>
                  </a:cubicBezTo>
                  <a:cubicBezTo>
                    <a:pt x="1664551" y="1207611"/>
                    <a:pt x="1493297" y="1220014"/>
                    <a:pt x="1339521" y="1285615"/>
                  </a:cubicBezTo>
                  <a:lnTo>
                    <a:pt x="1299608" y="1302604"/>
                  </a:lnTo>
                  <a:lnTo>
                    <a:pt x="1294484" y="1345584"/>
                  </a:lnTo>
                  <a:cubicBezTo>
                    <a:pt x="1263750" y="1593079"/>
                    <a:pt x="1358008" y="1839654"/>
                    <a:pt x="1545996" y="2003560"/>
                  </a:cubicBezTo>
                  <a:cubicBezTo>
                    <a:pt x="1733984" y="2167437"/>
                    <a:pt x="1991119" y="2227209"/>
                    <a:pt x="2232139" y="2163028"/>
                  </a:cubicBezTo>
                  <a:lnTo>
                    <a:pt x="2232139" y="2681934"/>
                  </a:lnTo>
                  <a:lnTo>
                    <a:pt x="1288165" y="2681934"/>
                  </a:lnTo>
                  <a:cubicBezTo>
                    <a:pt x="1246713" y="2681934"/>
                    <a:pt x="1213079" y="2715567"/>
                    <a:pt x="1213079" y="2757019"/>
                  </a:cubicBezTo>
                  <a:lnTo>
                    <a:pt x="1213079" y="2922767"/>
                  </a:lnTo>
                  <a:cubicBezTo>
                    <a:pt x="861910" y="2882736"/>
                    <a:pt x="513122" y="3015536"/>
                    <a:pt x="277491" y="3278982"/>
                  </a:cubicBezTo>
                  <a:cubicBezTo>
                    <a:pt x="41860" y="3542436"/>
                    <a:pt x="-51360" y="3903814"/>
                    <a:pt x="27439" y="4248360"/>
                  </a:cubicBezTo>
                  <a:cubicBezTo>
                    <a:pt x="106267" y="4592945"/>
                    <a:pt x="347296" y="4877866"/>
                    <a:pt x="674050" y="5012694"/>
                  </a:cubicBezTo>
                  <a:cubicBezTo>
                    <a:pt x="1000805" y="5147522"/>
                    <a:pt x="1372636" y="5115446"/>
                    <a:pt x="1671498" y="4926734"/>
                  </a:cubicBezTo>
                  <a:lnTo>
                    <a:pt x="3282736" y="4926734"/>
                  </a:lnTo>
                  <a:lnTo>
                    <a:pt x="3282696" y="4926734"/>
                  </a:lnTo>
                  <a:cubicBezTo>
                    <a:pt x="3324178" y="4926734"/>
                    <a:pt x="3357782" y="4893139"/>
                    <a:pt x="3357782" y="4851648"/>
                  </a:cubicBezTo>
                  <a:lnTo>
                    <a:pt x="3357782" y="4227962"/>
                  </a:lnTo>
                  <a:lnTo>
                    <a:pt x="3549512" y="4227962"/>
                  </a:lnTo>
                  <a:cubicBezTo>
                    <a:pt x="3590993" y="4227962"/>
                    <a:pt x="3624597" y="4194329"/>
                    <a:pt x="3624597" y="4152877"/>
                  </a:cubicBezTo>
                  <a:lnTo>
                    <a:pt x="3624597" y="3455056"/>
                  </a:lnTo>
                  <a:cubicBezTo>
                    <a:pt x="3624597" y="3435118"/>
                    <a:pt x="3616632" y="3415985"/>
                    <a:pt x="3602475" y="3401896"/>
                  </a:cubicBezTo>
                  <a:cubicBezTo>
                    <a:pt x="3588357" y="3387818"/>
                    <a:pt x="3569185" y="3379970"/>
                    <a:pt x="3549237" y="3380049"/>
                  </a:cubicBezTo>
                  <a:close/>
                  <a:moveTo>
                    <a:pt x="2028270" y="680054"/>
                  </a:moveTo>
                  <a:cubicBezTo>
                    <a:pt x="2022872" y="480780"/>
                    <a:pt x="2116249" y="291725"/>
                    <a:pt x="2277794" y="174962"/>
                  </a:cubicBezTo>
                  <a:cubicBezTo>
                    <a:pt x="2445913" y="282506"/>
                    <a:pt x="2549782" y="466310"/>
                    <a:pt x="2555210" y="665780"/>
                  </a:cubicBezTo>
                  <a:cubicBezTo>
                    <a:pt x="2560608" y="865240"/>
                    <a:pt x="2466839" y="1054452"/>
                    <a:pt x="2304844" y="1170940"/>
                  </a:cubicBezTo>
                  <a:cubicBezTo>
                    <a:pt x="2137224" y="1063015"/>
                    <a:pt x="2033698" y="879318"/>
                    <a:pt x="2028270" y="680054"/>
                  </a:cubicBezTo>
                  <a:close/>
                  <a:moveTo>
                    <a:pt x="2627385" y="1867566"/>
                  </a:moveTo>
                  <a:cubicBezTo>
                    <a:pt x="2787167" y="1748236"/>
                    <a:pt x="2995425" y="1715210"/>
                    <a:pt x="3184333" y="1779205"/>
                  </a:cubicBezTo>
                  <a:cubicBezTo>
                    <a:pt x="3193748" y="1978401"/>
                    <a:pt x="3103928" y="2169357"/>
                    <a:pt x="2944499" y="2289186"/>
                  </a:cubicBezTo>
                  <a:cubicBezTo>
                    <a:pt x="2785031" y="2408985"/>
                    <a:pt x="2576606" y="2442070"/>
                    <a:pt x="2387904" y="2377556"/>
                  </a:cubicBezTo>
                  <a:cubicBezTo>
                    <a:pt x="2378949" y="2178517"/>
                    <a:pt x="2468505" y="1987777"/>
                    <a:pt x="2627395" y="1867566"/>
                  </a:cubicBezTo>
                  <a:close/>
                  <a:moveTo>
                    <a:pt x="1680276" y="1917737"/>
                  </a:moveTo>
                  <a:lnTo>
                    <a:pt x="1680237" y="1917737"/>
                  </a:lnTo>
                  <a:cubicBezTo>
                    <a:pt x="1520994" y="1797722"/>
                    <a:pt x="1431174" y="1606874"/>
                    <a:pt x="1440167" y="1407678"/>
                  </a:cubicBezTo>
                  <a:cubicBezTo>
                    <a:pt x="1612764" y="1348552"/>
                    <a:pt x="1802887" y="1371017"/>
                    <a:pt x="1956967" y="1468724"/>
                  </a:cubicBezTo>
                  <a:cubicBezTo>
                    <a:pt x="2111046" y="1566421"/>
                    <a:pt x="2212457" y="1728770"/>
                    <a:pt x="2232590" y="1910134"/>
                  </a:cubicBezTo>
                  <a:lnTo>
                    <a:pt x="2232590" y="2007302"/>
                  </a:lnTo>
                  <a:cubicBezTo>
                    <a:pt x="2044759" y="2069720"/>
                    <a:pt x="1838294" y="2036273"/>
                    <a:pt x="1679776" y="1917786"/>
                  </a:cubicBezTo>
                  <a:close/>
                  <a:moveTo>
                    <a:pt x="1363172" y="2831899"/>
                  </a:moveTo>
                  <a:lnTo>
                    <a:pt x="3207582" y="2831899"/>
                  </a:lnTo>
                  <a:lnTo>
                    <a:pt x="3207582" y="3379960"/>
                  </a:lnTo>
                  <a:lnTo>
                    <a:pt x="1983233" y="3379960"/>
                  </a:lnTo>
                  <a:cubicBezTo>
                    <a:pt x="1834052" y="3167793"/>
                    <a:pt x="1614272" y="3015664"/>
                    <a:pt x="1363181" y="2950797"/>
                  </a:cubicBezTo>
                  <a:close/>
                  <a:moveTo>
                    <a:pt x="151853" y="4005107"/>
                  </a:moveTo>
                  <a:cubicBezTo>
                    <a:pt x="151814" y="3755818"/>
                    <a:pt x="250745" y="3516738"/>
                    <a:pt x="426976" y="3340429"/>
                  </a:cubicBezTo>
                  <a:cubicBezTo>
                    <a:pt x="603168" y="3164120"/>
                    <a:pt x="842208" y="3065041"/>
                    <a:pt x="1091457" y="3064963"/>
                  </a:cubicBezTo>
                  <a:cubicBezTo>
                    <a:pt x="1340707" y="3064884"/>
                    <a:pt x="1579826" y="3163816"/>
                    <a:pt x="1756135" y="3340008"/>
                  </a:cubicBezTo>
                  <a:cubicBezTo>
                    <a:pt x="1932444" y="3516200"/>
                    <a:pt x="2031562" y="3755201"/>
                    <a:pt x="2031680" y="4004489"/>
                  </a:cubicBezTo>
                  <a:cubicBezTo>
                    <a:pt x="2031758" y="4253738"/>
                    <a:pt x="1932865" y="4492818"/>
                    <a:pt x="1756674" y="4669167"/>
                  </a:cubicBezTo>
                  <a:cubicBezTo>
                    <a:pt x="1580521" y="4845515"/>
                    <a:pt x="1341481" y="4944633"/>
                    <a:pt x="1092232" y="4944750"/>
                  </a:cubicBezTo>
                  <a:cubicBezTo>
                    <a:pt x="843012" y="4944525"/>
                    <a:pt x="604099" y="4845437"/>
                    <a:pt x="427829" y="4669284"/>
                  </a:cubicBezTo>
                  <a:cubicBezTo>
                    <a:pt x="251558" y="4493161"/>
                    <a:pt x="152323" y="4254287"/>
                    <a:pt x="151863" y="4005107"/>
                  </a:cubicBezTo>
                  <a:close/>
                  <a:moveTo>
                    <a:pt x="3207582" y="4776553"/>
                  </a:moveTo>
                  <a:lnTo>
                    <a:pt x="1861062" y="4776553"/>
                  </a:lnTo>
                  <a:cubicBezTo>
                    <a:pt x="2011537" y="4626725"/>
                    <a:pt x="2114906" y="4436220"/>
                    <a:pt x="2158494" y="4228413"/>
                  </a:cubicBezTo>
                  <a:lnTo>
                    <a:pt x="3207572" y="4228413"/>
                  </a:lnTo>
                  <a:close/>
                  <a:moveTo>
                    <a:pt x="3474329" y="4078467"/>
                  </a:moveTo>
                  <a:lnTo>
                    <a:pt x="2177971" y="4078428"/>
                  </a:lnTo>
                  <a:cubicBezTo>
                    <a:pt x="2179577" y="4054171"/>
                    <a:pt x="2181684" y="4030021"/>
                    <a:pt x="2181684" y="4005371"/>
                  </a:cubicBezTo>
                  <a:cubicBezTo>
                    <a:pt x="2181488" y="3840661"/>
                    <a:pt x="2143720" y="3678195"/>
                    <a:pt x="2071201" y="3530327"/>
                  </a:cubicBezTo>
                  <a:lnTo>
                    <a:pt x="3474544" y="3530327"/>
                  </a:lnTo>
                  <a:close/>
                  <a:moveTo>
                    <a:pt x="951270" y="3789716"/>
                  </a:moveTo>
                  <a:lnTo>
                    <a:pt x="951231" y="3789677"/>
                  </a:lnTo>
                  <a:cubicBezTo>
                    <a:pt x="951309" y="3827033"/>
                    <a:pt x="966191" y="3862813"/>
                    <a:pt x="992604" y="3889216"/>
                  </a:cubicBezTo>
                  <a:cubicBezTo>
                    <a:pt x="1019047" y="3915619"/>
                    <a:pt x="1054865" y="3930472"/>
                    <a:pt x="1092222" y="3930472"/>
                  </a:cubicBezTo>
                  <a:cubicBezTo>
                    <a:pt x="1186901" y="3930472"/>
                    <a:pt x="1275614" y="3976626"/>
                    <a:pt x="1329920" y="4054200"/>
                  </a:cubicBezTo>
                  <a:cubicBezTo>
                    <a:pt x="1384225" y="4131734"/>
                    <a:pt x="1397275" y="4230892"/>
                    <a:pt x="1364896" y="4319869"/>
                  </a:cubicBezTo>
                  <a:cubicBezTo>
                    <a:pt x="1332477" y="4408808"/>
                    <a:pt x="1258734" y="4476398"/>
                    <a:pt x="1167307" y="4500891"/>
                  </a:cubicBezTo>
                  <a:lnTo>
                    <a:pt x="1167307" y="4653746"/>
                  </a:lnTo>
                  <a:cubicBezTo>
                    <a:pt x="1167307" y="4695227"/>
                    <a:pt x="1133664" y="4728831"/>
                    <a:pt x="1092222" y="4728831"/>
                  </a:cubicBezTo>
                  <a:cubicBezTo>
                    <a:pt x="1050770" y="4728831"/>
                    <a:pt x="1017136" y="4695227"/>
                    <a:pt x="1017136" y="4653746"/>
                  </a:cubicBezTo>
                  <a:lnTo>
                    <a:pt x="1017136" y="4500587"/>
                  </a:lnTo>
                  <a:cubicBezTo>
                    <a:pt x="955365" y="4484206"/>
                    <a:pt x="900756" y="4447927"/>
                    <a:pt x="861685" y="4397335"/>
                  </a:cubicBezTo>
                  <a:cubicBezTo>
                    <a:pt x="822644" y="4346743"/>
                    <a:pt x="801374" y="4284707"/>
                    <a:pt x="801139" y="4220791"/>
                  </a:cubicBezTo>
                  <a:cubicBezTo>
                    <a:pt x="801139" y="4179309"/>
                    <a:pt x="834782" y="4145705"/>
                    <a:pt x="876224" y="4145705"/>
                  </a:cubicBezTo>
                  <a:cubicBezTo>
                    <a:pt x="917715" y="4145705"/>
                    <a:pt x="951309" y="4179309"/>
                    <a:pt x="951309" y="4220791"/>
                  </a:cubicBezTo>
                  <a:cubicBezTo>
                    <a:pt x="951388" y="4258029"/>
                    <a:pt x="966201" y="4293691"/>
                    <a:pt x="992526" y="4319987"/>
                  </a:cubicBezTo>
                  <a:cubicBezTo>
                    <a:pt x="1018900" y="4346282"/>
                    <a:pt x="1054601" y="4361047"/>
                    <a:pt x="1091800" y="4361047"/>
                  </a:cubicBezTo>
                  <a:cubicBezTo>
                    <a:pt x="1129039" y="4361047"/>
                    <a:pt x="1164750" y="4346282"/>
                    <a:pt x="1191075" y="4319987"/>
                  </a:cubicBezTo>
                  <a:cubicBezTo>
                    <a:pt x="1217449" y="4293691"/>
                    <a:pt x="1232252" y="4258029"/>
                    <a:pt x="1232331" y="4220791"/>
                  </a:cubicBezTo>
                  <a:cubicBezTo>
                    <a:pt x="1232409" y="4183552"/>
                    <a:pt x="1217674" y="4147851"/>
                    <a:pt x="1191418" y="4121438"/>
                  </a:cubicBezTo>
                  <a:cubicBezTo>
                    <a:pt x="1165171" y="4095074"/>
                    <a:pt x="1129500" y="4080182"/>
                    <a:pt x="1092310" y="4080035"/>
                  </a:cubicBezTo>
                  <a:cubicBezTo>
                    <a:pt x="997434" y="4080339"/>
                    <a:pt x="908408" y="4034223"/>
                    <a:pt x="853916" y="3956562"/>
                  </a:cubicBezTo>
                  <a:cubicBezTo>
                    <a:pt x="799424" y="3878919"/>
                    <a:pt x="786375" y="3779537"/>
                    <a:pt x="818901" y="3690432"/>
                  </a:cubicBezTo>
                  <a:cubicBezTo>
                    <a:pt x="851437" y="3601347"/>
                    <a:pt x="925484" y="3533766"/>
                    <a:pt x="1017215" y="3509489"/>
                  </a:cubicBezTo>
                  <a:lnTo>
                    <a:pt x="1017215" y="3356790"/>
                  </a:lnTo>
                  <a:cubicBezTo>
                    <a:pt x="1017215" y="3315348"/>
                    <a:pt x="1050819" y="3281744"/>
                    <a:pt x="1092300" y="3281744"/>
                  </a:cubicBezTo>
                  <a:cubicBezTo>
                    <a:pt x="1133752" y="3281744"/>
                    <a:pt x="1167356" y="3315348"/>
                    <a:pt x="1167356" y="3356790"/>
                  </a:cubicBezTo>
                  <a:lnTo>
                    <a:pt x="1167356" y="3509567"/>
                  </a:lnTo>
                  <a:cubicBezTo>
                    <a:pt x="1228931" y="3526105"/>
                    <a:pt x="1283393" y="3562462"/>
                    <a:pt x="1322239" y="3613025"/>
                  </a:cubicBezTo>
                  <a:cubicBezTo>
                    <a:pt x="1361114" y="3663578"/>
                    <a:pt x="1382276" y="3725486"/>
                    <a:pt x="1382433" y="3789246"/>
                  </a:cubicBezTo>
                  <a:cubicBezTo>
                    <a:pt x="1382433" y="3830737"/>
                    <a:pt x="1348829" y="3864341"/>
                    <a:pt x="1307347" y="3864341"/>
                  </a:cubicBezTo>
                  <a:cubicBezTo>
                    <a:pt x="1265905" y="3864341"/>
                    <a:pt x="1232262" y="3830737"/>
                    <a:pt x="1232262" y="3789246"/>
                  </a:cubicBezTo>
                  <a:cubicBezTo>
                    <a:pt x="1233026" y="3751517"/>
                    <a:pt x="1218595" y="3715042"/>
                    <a:pt x="1192153" y="3688071"/>
                  </a:cubicBezTo>
                  <a:cubicBezTo>
                    <a:pt x="1165710" y="3661090"/>
                    <a:pt x="1129549" y="3645894"/>
                    <a:pt x="1091810" y="3645894"/>
                  </a:cubicBezTo>
                  <a:cubicBezTo>
                    <a:pt x="1054042" y="3645894"/>
                    <a:pt x="1017871" y="3661090"/>
                    <a:pt x="991429" y="3688071"/>
                  </a:cubicBezTo>
                  <a:cubicBezTo>
                    <a:pt x="965025" y="3715042"/>
                    <a:pt x="950555" y="3751517"/>
                    <a:pt x="951319" y="3789246"/>
                  </a:cubicBezTo>
                  <a:close/>
                </a:path>
              </a:pathLst>
            </a:custGeom>
            <a:solidFill>
              <a:srgbClr val="1F4CB9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88" name="Freeform: Shape 1087">
              <a:extLst>
                <a:ext uri="{FF2B5EF4-FFF2-40B4-BE49-F238E27FC236}">
                  <a16:creationId xmlns:a16="http://schemas.microsoft.com/office/drawing/2014/main" id="{9853C27A-3E73-776A-0CCE-5501F4B412A6}"/>
                </a:ext>
              </a:extLst>
            </p:cNvPr>
            <p:cNvSpPr/>
            <p:nvPr/>
          </p:nvSpPr>
          <p:spPr>
            <a:xfrm>
              <a:off x="4208772" y="4742328"/>
              <a:ext cx="358725" cy="358726"/>
            </a:xfrm>
            <a:custGeom>
              <a:avLst/>
              <a:gdLst>
                <a:gd name="connsiteX0" fmla="*/ 1219078 w 5195299"/>
                <a:gd name="connsiteY0" fmla="*/ 3168695 h 5195321"/>
                <a:gd name="connsiteX1" fmla="*/ 1149195 w 5195299"/>
                <a:gd name="connsiteY1" fmla="*/ 3521353 h 5195321"/>
                <a:gd name="connsiteX2" fmla="*/ 1149195 w 5195299"/>
                <a:gd name="connsiteY2" fmla="*/ 3792224 h 5195321"/>
                <a:gd name="connsiteX3" fmla="*/ 1403117 w 5195299"/>
                <a:gd name="connsiteY3" fmla="*/ 4046146 h 5195321"/>
                <a:gd name="connsiteX4" fmla="*/ 1538553 w 5195299"/>
                <a:gd name="connsiteY4" fmla="*/ 4102254 h 5195321"/>
                <a:gd name="connsiteX5" fmla="*/ 1673988 w 5195299"/>
                <a:gd name="connsiteY5" fmla="*/ 4046146 h 5195321"/>
                <a:gd name="connsiteX6" fmla="*/ 2026764 w 5195299"/>
                <a:gd name="connsiteY6" fmla="*/ 3975959 h 5195321"/>
                <a:gd name="connsiteX7" fmla="*/ 2226606 w 5195299"/>
                <a:gd name="connsiteY7" fmla="*/ 4275037 h 5195321"/>
                <a:gd name="connsiteX8" fmla="*/ 2418189 w 5195299"/>
                <a:gd name="connsiteY8" fmla="*/ 4466620 h 5195321"/>
                <a:gd name="connsiteX9" fmla="*/ 2777274 w 5195299"/>
                <a:gd name="connsiteY9" fmla="*/ 4466620 h 5195321"/>
                <a:gd name="connsiteX10" fmla="*/ 2968857 w 5195299"/>
                <a:gd name="connsiteY10" fmla="*/ 4275037 h 5195321"/>
                <a:gd name="connsiteX11" fmla="*/ 3168817 w 5195299"/>
                <a:gd name="connsiteY11" fmla="*/ 3976263 h 5195321"/>
                <a:gd name="connsiteX12" fmla="*/ 3521475 w 5195299"/>
                <a:gd name="connsiteY12" fmla="*/ 4046146 h 5195321"/>
                <a:gd name="connsiteX13" fmla="*/ 3656911 w 5195299"/>
                <a:gd name="connsiteY13" fmla="*/ 4102245 h 5195321"/>
                <a:gd name="connsiteX14" fmla="*/ 3792346 w 5195299"/>
                <a:gd name="connsiteY14" fmla="*/ 4046146 h 5195321"/>
                <a:gd name="connsiteX15" fmla="*/ 4046269 w 5195299"/>
                <a:gd name="connsiteY15" fmla="*/ 3792224 h 5195321"/>
                <a:gd name="connsiteX16" fmla="*/ 4046269 w 5195299"/>
                <a:gd name="connsiteY16" fmla="*/ 3521353 h 5195321"/>
                <a:gd name="connsiteX17" fmla="*/ 3976386 w 5195299"/>
                <a:gd name="connsiteY17" fmla="*/ 3168695 h 5195321"/>
                <a:gd name="connsiteX18" fmla="*/ 4275160 w 5195299"/>
                <a:gd name="connsiteY18" fmla="*/ 2968735 h 5195321"/>
                <a:gd name="connsiteX19" fmla="*/ 4466743 w 5195299"/>
                <a:gd name="connsiteY19" fmla="*/ 2777152 h 5195321"/>
                <a:gd name="connsiteX20" fmla="*/ 4466743 w 5195299"/>
                <a:gd name="connsiteY20" fmla="*/ 2418067 h 5195321"/>
                <a:gd name="connsiteX21" fmla="*/ 4275160 w 5195299"/>
                <a:gd name="connsiteY21" fmla="*/ 2226484 h 5195321"/>
                <a:gd name="connsiteX22" fmla="*/ 3976386 w 5195299"/>
                <a:gd name="connsiteY22" fmla="*/ 2026524 h 5195321"/>
                <a:gd name="connsiteX23" fmla="*/ 4046269 w 5195299"/>
                <a:gd name="connsiteY23" fmla="*/ 1673866 h 5195321"/>
                <a:gd name="connsiteX24" fmla="*/ 4046269 w 5195299"/>
                <a:gd name="connsiteY24" fmla="*/ 1402994 h 5195321"/>
                <a:gd name="connsiteX25" fmla="*/ 3792346 w 5195299"/>
                <a:gd name="connsiteY25" fmla="*/ 1149072 h 5195321"/>
                <a:gd name="connsiteX26" fmla="*/ 3656911 w 5195299"/>
                <a:gd name="connsiteY26" fmla="*/ 1092964 h 5195321"/>
                <a:gd name="connsiteX27" fmla="*/ 3521475 w 5195299"/>
                <a:gd name="connsiteY27" fmla="*/ 1149072 h 5195321"/>
                <a:gd name="connsiteX28" fmla="*/ 3168817 w 5195299"/>
                <a:gd name="connsiteY28" fmla="*/ 1218955 h 5195321"/>
                <a:gd name="connsiteX29" fmla="*/ 2968857 w 5195299"/>
                <a:gd name="connsiteY29" fmla="*/ 920181 h 5195321"/>
                <a:gd name="connsiteX30" fmla="*/ 2777274 w 5195299"/>
                <a:gd name="connsiteY30" fmla="*/ 728593 h 5195321"/>
                <a:gd name="connsiteX31" fmla="*/ 2418189 w 5195299"/>
                <a:gd name="connsiteY31" fmla="*/ 728593 h 5195321"/>
                <a:gd name="connsiteX32" fmla="*/ 2226606 w 5195299"/>
                <a:gd name="connsiteY32" fmla="*/ 920181 h 5195321"/>
                <a:gd name="connsiteX33" fmla="*/ 2026647 w 5195299"/>
                <a:gd name="connsiteY33" fmla="*/ 1218955 h 5195321"/>
                <a:gd name="connsiteX34" fmla="*/ 1673988 w 5195299"/>
                <a:gd name="connsiteY34" fmla="*/ 1149072 h 5195321"/>
                <a:gd name="connsiteX35" fmla="*/ 1403117 w 5195299"/>
                <a:gd name="connsiteY35" fmla="*/ 1149072 h 5195321"/>
                <a:gd name="connsiteX36" fmla="*/ 1149195 w 5195299"/>
                <a:gd name="connsiteY36" fmla="*/ 1402994 h 5195321"/>
                <a:gd name="connsiteX37" fmla="*/ 1149195 w 5195299"/>
                <a:gd name="connsiteY37" fmla="*/ 1673866 h 5195321"/>
                <a:gd name="connsiteX38" fmla="*/ 1219078 w 5195299"/>
                <a:gd name="connsiteY38" fmla="*/ 2026524 h 5195321"/>
                <a:gd name="connsiteX39" fmla="*/ 920304 w 5195299"/>
                <a:gd name="connsiteY39" fmla="*/ 2226484 h 5195321"/>
                <a:gd name="connsiteX40" fmla="*/ 728721 w 5195299"/>
                <a:gd name="connsiteY40" fmla="*/ 2418067 h 5195321"/>
                <a:gd name="connsiteX41" fmla="*/ 728721 w 5195299"/>
                <a:gd name="connsiteY41" fmla="*/ 2777152 h 5195321"/>
                <a:gd name="connsiteX42" fmla="*/ 920304 w 5195299"/>
                <a:gd name="connsiteY42" fmla="*/ 2968735 h 5195321"/>
                <a:gd name="connsiteX43" fmla="*/ 1219078 w 5195299"/>
                <a:gd name="connsiteY43" fmla="*/ 3168695 h 5195321"/>
                <a:gd name="connsiteX44" fmla="*/ 876021 w 5195299"/>
                <a:gd name="connsiteY44" fmla="*/ 2777191 h 5195321"/>
                <a:gd name="connsiteX45" fmla="*/ 876021 w 5195299"/>
                <a:gd name="connsiteY45" fmla="*/ 2418106 h 5195321"/>
                <a:gd name="connsiteX46" fmla="*/ 920294 w 5195299"/>
                <a:gd name="connsiteY46" fmla="*/ 2373833 h 5195321"/>
                <a:gd name="connsiteX47" fmla="*/ 1355091 w 5195299"/>
                <a:gd name="connsiteY47" fmla="*/ 2082965 h 5195321"/>
                <a:gd name="connsiteX48" fmla="*/ 1253280 w 5195299"/>
                <a:gd name="connsiteY48" fmla="*/ 1569801 h 5195321"/>
                <a:gd name="connsiteX49" fmla="*/ 1253280 w 5195299"/>
                <a:gd name="connsiteY49" fmla="*/ 1507119 h 5195321"/>
                <a:gd name="connsiteX50" fmla="*/ 1507202 w 5195299"/>
                <a:gd name="connsiteY50" fmla="*/ 1253196 h 5195321"/>
                <a:gd name="connsiteX51" fmla="*/ 1538514 w 5195299"/>
                <a:gd name="connsiteY51" fmla="*/ 1240225 h 5195321"/>
                <a:gd name="connsiteX52" fmla="*/ 1569816 w 5195299"/>
                <a:gd name="connsiteY52" fmla="*/ 1253196 h 5195321"/>
                <a:gd name="connsiteX53" fmla="*/ 2082980 w 5195299"/>
                <a:gd name="connsiteY53" fmla="*/ 1354998 h 5195321"/>
                <a:gd name="connsiteX54" fmla="*/ 2373838 w 5195299"/>
                <a:gd name="connsiteY54" fmla="*/ 920211 h 5195321"/>
                <a:gd name="connsiteX55" fmla="*/ 2418121 w 5195299"/>
                <a:gd name="connsiteY55" fmla="*/ 875938 h 5195321"/>
                <a:gd name="connsiteX56" fmla="*/ 2777206 w 5195299"/>
                <a:gd name="connsiteY56" fmla="*/ 875938 h 5195321"/>
                <a:gd name="connsiteX57" fmla="*/ 2821479 w 5195299"/>
                <a:gd name="connsiteY57" fmla="*/ 920211 h 5195321"/>
                <a:gd name="connsiteX58" fmla="*/ 3112337 w 5195299"/>
                <a:gd name="connsiteY58" fmla="*/ 1354998 h 5195321"/>
                <a:gd name="connsiteX59" fmla="*/ 3625501 w 5195299"/>
                <a:gd name="connsiteY59" fmla="*/ 1253196 h 5195321"/>
                <a:gd name="connsiteX60" fmla="*/ 3656803 w 5195299"/>
                <a:gd name="connsiteY60" fmla="*/ 1240225 h 5195321"/>
                <a:gd name="connsiteX61" fmla="*/ 3688115 w 5195299"/>
                <a:gd name="connsiteY61" fmla="*/ 1253196 h 5195321"/>
                <a:gd name="connsiteX62" fmla="*/ 3942037 w 5195299"/>
                <a:gd name="connsiteY62" fmla="*/ 1507119 h 5195321"/>
                <a:gd name="connsiteX63" fmla="*/ 3942037 w 5195299"/>
                <a:gd name="connsiteY63" fmla="*/ 1569801 h 5195321"/>
                <a:gd name="connsiteX64" fmla="*/ 3840235 w 5195299"/>
                <a:gd name="connsiteY64" fmla="*/ 2082965 h 5195321"/>
                <a:gd name="connsiteX65" fmla="*/ 4275023 w 5195299"/>
                <a:gd name="connsiteY65" fmla="*/ 2373833 h 5195321"/>
                <a:gd name="connsiteX66" fmla="*/ 4319296 w 5195299"/>
                <a:gd name="connsiteY66" fmla="*/ 2418106 h 5195321"/>
                <a:gd name="connsiteX67" fmla="*/ 4319296 w 5195299"/>
                <a:gd name="connsiteY67" fmla="*/ 2777191 h 5195321"/>
                <a:gd name="connsiteX68" fmla="*/ 4275023 w 5195299"/>
                <a:gd name="connsiteY68" fmla="*/ 2821474 h 5195321"/>
                <a:gd name="connsiteX69" fmla="*/ 3840235 w 5195299"/>
                <a:gd name="connsiteY69" fmla="*/ 3112322 h 5195321"/>
                <a:gd name="connsiteX70" fmla="*/ 3942037 w 5195299"/>
                <a:gd name="connsiteY70" fmla="*/ 3625486 h 5195321"/>
                <a:gd name="connsiteX71" fmla="*/ 3955008 w 5195299"/>
                <a:gd name="connsiteY71" fmla="*/ 3656798 h 5195321"/>
                <a:gd name="connsiteX72" fmla="*/ 3942037 w 5195299"/>
                <a:gd name="connsiteY72" fmla="*/ 3688100 h 5195321"/>
                <a:gd name="connsiteX73" fmla="*/ 3688115 w 5195299"/>
                <a:gd name="connsiteY73" fmla="*/ 3942022 h 5195321"/>
                <a:gd name="connsiteX74" fmla="*/ 3656803 w 5195299"/>
                <a:gd name="connsiteY74" fmla="*/ 3954994 h 5195321"/>
                <a:gd name="connsiteX75" fmla="*/ 3625501 w 5195299"/>
                <a:gd name="connsiteY75" fmla="*/ 3942022 h 5195321"/>
                <a:gd name="connsiteX76" fmla="*/ 3112337 w 5195299"/>
                <a:gd name="connsiteY76" fmla="*/ 3840220 h 5195321"/>
                <a:gd name="connsiteX77" fmla="*/ 2821479 w 5195299"/>
                <a:gd name="connsiteY77" fmla="*/ 4275008 h 5195321"/>
                <a:gd name="connsiteX78" fmla="*/ 2777206 w 5195299"/>
                <a:gd name="connsiteY78" fmla="*/ 4319291 h 5195321"/>
                <a:gd name="connsiteX79" fmla="*/ 2418121 w 5195299"/>
                <a:gd name="connsiteY79" fmla="*/ 4319291 h 5195321"/>
                <a:gd name="connsiteX80" fmla="*/ 2373838 w 5195299"/>
                <a:gd name="connsiteY80" fmla="*/ 4275008 h 5195321"/>
                <a:gd name="connsiteX81" fmla="*/ 2083098 w 5195299"/>
                <a:gd name="connsiteY81" fmla="*/ 3839916 h 5195321"/>
                <a:gd name="connsiteX82" fmla="*/ 1899862 w 5195299"/>
                <a:gd name="connsiteY82" fmla="*/ 3802873 h 5195321"/>
                <a:gd name="connsiteX83" fmla="*/ 1569816 w 5195299"/>
                <a:gd name="connsiteY83" fmla="*/ 3942022 h 5195321"/>
                <a:gd name="connsiteX84" fmla="*/ 1538514 w 5195299"/>
                <a:gd name="connsiteY84" fmla="*/ 3954994 h 5195321"/>
                <a:gd name="connsiteX85" fmla="*/ 1507202 w 5195299"/>
                <a:gd name="connsiteY85" fmla="*/ 3942022 h 5195321"/>
                <a:gd name="connsiteX86" fmla="*/ 1253280 w 5195299"/>
                <a:gd name="connsiteY86" fmla="*/ 3688100 h 5195321"/>
                <a:gd name="connsiteX87" fmla="*/ 1240308 w 5195299"/>
                <a:gd name="connsiteY87" fmla="*/ 3656798 h 5195321"/>
                <a:gd name="connsiteX88" fmla="*/ 1253280 w 5195299"/>
                <a:gd name="connsiteY88" fmla="*/ 3625486 h 5195321"/>
                <a:gd name="connsiteX89" fmla="*/ 1355091 w 5195299"/>
                <a:gd name="connsiteY89" fmla="*/ 3112322 h 5195321"/>
                <a:gd name="connsiteX90" fmla="*/ 920294 w 5195299"/>
                <a:gd name="connsiteY90" fmla="*/ 2821464 h 5195321"/>
                <a:gd name="connsiteX91" fmla="*/ 876021 w 5195299"/>
                <a:gd name="connsiteY91" fmla="*/ 2777191 h 5195321"/>
                <a:gd name="connsiteX92" fmla="*/ 700280 w 5195299"/>
                <a:gd name="connsiteY92" fmla="*/ 4148497 h 5195321"/>
                <a:gd name="connsiteX93" fmla="*/ 689983 w 5195299"/>
                <a:gd name="connsiteY93" fmla="*/ 4252092 h 5195321"/>
                <a:gd name="connsiteX94" fmla="*/ 643339 w 5195299"/>
                <a:gd name="connsiteY94" fmla="*/ 4268776 h 5195321"/>
                <a:gd name="connsiteX95" fmla="*/ 586349 w 5195299"/>
                <a:gd name="connsiteY95" fmla="*/ 4241795 h 5195321"/>
                <a:gd name="connsiteX96" fmla="*/ 2842 w 5195299"/>
                <a:gd name="connsiteY96" fmla="*/ 2475860 h 5195321"/>
                <a:gd name="connsiteX97" fmla="*/ 760816 w 5195299"/>
                <a:gd name="connsiteY97" fmla="*/ 760872 h 5195321"/>
                <a:gd name="connsiteX98" fmla="*/ 2475806 w 5195299"/>
                <a:gd name="connsiteY98" fmla="*/ 2857 h 5195321"/>
                <a:gd name="connsiteX99" fmla="*/ 4075680 w 5195299"/>
                <a:gd name="connsiteY99" fmla="*/ 461099 h 5195321"/>
                <a:gd name="connsiteX100" fmla="*/ 4013380 w 5195299"/>
                <a:gd name="connsiteY100" fmla="*/ 201132 h 5195321"/>
                <a:gd name="connsiteX101" fmla="*/ 4067793 w 5195299"/>
                <a:gd name="connsiteY101" fmla="*/ 112384 h 5195321"/>
                <a:gd name="connsiteX102" fmla="*/ 4156545 w 5195299"/>
                <a:gd name="connsiteY102" fmla="*/ 166804 h 5195321"/>
                <a:gd name="connsiteX103" fmla="*/ 4266460 w 5195299"/>
                <a:gd name="connsiteY103" fmla="*/ 625398 h 5195321"/>
                <a:gd name="connsiteX104" fmla="*/ 4267880 w 5195299"/>
                <a:gd name="connsiteY104" fmla="*/ 632784 h 5195321"/>
                <a:gd name="connsiteX105" fmla="*/ 4267880 w 5195299"/>
                <a:gd name="connsiteY105" fmla="*/ 632822 h 5195321"/>
                <a:gd name="connsiteX106" fmla="*/ 4268566 w 5195299"/>
                <a:gd name="connsiteY106" fmla="*/ 640361 h 5195321"/>
                <a:gd name="connsiteX107" fmla="*/ 4252832 w 5195299"/>
                <a:gd name="connsiteY107" fmla="*/ 688811 h 5195321"/>
                <a:gd name="connsiteX108" fmla="*/ 4250657 w 5195299"/>
                <a:gd name="connsiteY108" fmla="*/ 691453 h 5195321"/>
                <a:gd name="connsiteX109" fmla="*/ 4206609 w 5195299"/>
                <a:gd name="connsiteY109" fmla="*/ 715984 h 5195321"/>
                <a:gd name="connsiteX110" fmla="*/ 4199790 w 5195299"/>
                <a:gd name="connsiteY110" fmla="*/ 716711 h 5195321"/>
                <a:gd name="connsiteX111" fmla="*/ 4199683 w 5195299"/>
                <a:gd name="connsiteY111" fmla="*/ 716711 h 5195321"/>
                <a:gd name="connsiteX112" fmla="*/ 4197576 w 5195299"/>
                <a:gd name="connsiteY112" fmla="*/ 716825 h 5195321"/>
                <a:gd name="connsiteX113" fmla="*/ 3725863 w 5195299"/>
                <a:gd name="connsiteY113" fmla="*/ 735616 h 5195321"/>
                <a:gd name="connsiteX114" fmla="*/ 3649396 w 5195299"/>
                <a:gd name="connsiteY114" fmla="*/ 664970 h 5195321"/>
                <a:gd name="connsiteX115" fmla="*/ 3720043 w 5195299"/>
                <a:gd name="connsiteY115" fmla="*/ 588506 h 5195321"/>
                <a:gd name="connsiteX116" fmla="*/ 3986134 w 5195299"/>
                <a:gd name="connsiteY116" fmla="*/ 577867 h 5195321"/>
                <a:gd name="connsiteX117" fmla="*/ 864862 w 5195299"/>
                <a:gd name="connsiteY117" fmla="*/ 864975 h 5195321"/>
                <a:gd name="connsiteX118" fmla="*/ 700153 w 5195299"/>
                <a:gd name="connsiteY118" fmla="*/ 4148487 h 5195321"/>
                <a:gd name="connsiteX119" fmla="*/ 5192466 w 5195299"/>
                <a:gd name="connsiteY119" fmla="*/ 2719486 h 5195321"/>
                <a:gd name="connsiteX120" fmla="*/ 4434490 w 5195299"/>
                <a:gd name="connsiteY120" fmla="*/ 4434476 h 5195321"/>
                <a:gd name="connsiteX121" fmla="*/ 2719500 w 5195299"/>
                <a:gd name="connsiteY121" fmla="*/ 5192451 h 5195321"/>
                <a:gd name="connsiteX122" fmla="*/ 2597154 w 5195299"/>
                <a:gd name="connsiteY122" fmla="*/ 5195322 h 5195321"/>
                <a:gd name="connsiteX123" fmla="*/ 1119549 w 5195299"/>
                <a:gd name="connsiteY123" fmla="*/ 4734249 h 5195321"/>
                <a:gd name="connsiteX124" fmla="*/ 1181849 w 5195299"/>
                <a:gd name="connsiteY124" fmla="*/ 4994216 h 5195321"/>
                <a:gd name="connsiteX125" fmla="*/ 1127435 w 5195299"/>
                <a:gd name="connsiteY125" fmla="*/ 5082968 h 5195321"/>
                <a:gd name="connsiteX126" fmla="*/ 1038683 w 5195299"/>
                <a:gd name="connsiteY126" fmla="*/ 5028545 h 5195321"/>
                <a:gd name="connsiteX127" fmla="*/ 928769 w 5195299"/>
                <a:gd name="connsiteY127" fmla="*/ 4569950 h 5195321"/>
                <a:gd name="connsiteX128" fmla="*/ 927358 w 5195299"/>
                <a:gd name="connsiteY128" fmla="*/ 4562750 h 5195321"/>
                <a:gd name="connsiteX129" fmla="*/ 926623 w 5195299"/>
                <a:gd name="connsiteY129" fmla="*/ 4554990 h 5195321"/>
                <a:gd name="connsiteX130" fmla="*/ 943161 w 5195299"/>
                <a:gd name="connsiteY130" fmla="*/ 4505426 h 5195321"/>
                <a:gd name="connsiteX131" fmla="*/ 943200 w 5195299"/>
                <a:gd name="connsiteY131" fmla="*/ 4505387 h 5195321"/>
                <a:gd name="connsiteX132" fmla="*/ 943239 w 5195299"/>
                <a:gd name="connsiteY132" fmla="*/ 4505348 h 5195321"/>
                <a:gd name="connsiteX133" fmla="*/ 943278 w 5195299"/>
                <a:gd name="connsiteY133" fmla="*/ 4505231 h 5195321"/>
                <a:gd name="connsiteX134" fmla="*/ 943308 w 5195299"/>
                <a:gd name="connsiteY134" fmla="*/ 4505191 h 5195321"/>
                <a:gd name="connsiteX135" fmla="*/ 943347 w 5195299"/>
                <a:gd name="connsiteY135" fmla="*/ 4505162 h 5195321"/>
                <a:gd name="connsiteX136" fmla="*/ 943386 w 5195299"/>
                <a:gd name="connsiteY136" fmla="*/ 4505123 h 5195321"/>
                <a:gd name="connsiteX137" fmla="*/ 943425 w 5195299"/>
                <a:gd name="connsiteY137" fmla="*/ 4505084 h 5195321"/>
                <a:gd name="connsiteX138" fmla="*/ 988972 w 5195299"/>
                <a:gd name="connsiteY138" fmla="*/ 4479405 h 5195321"/>
                <a:gd name="connsiteX139" fmla="*/ 989080 w 5195299"/>
                <a:gd name="connsiteY139" fmla="*/ 4479405 h 5195321"/>
                <a:gd name="connsiteX140" fmla="*/ 994214 w 5195299"/>
                <a:gd name="connsiteY140" fmla="*/ 4478827 h 5195321"/>
                <a:gd name="connsiteX141" fmla="*/ 994322 w 5195299"/>
                <a:gd name="connsiteY141" fmla="*/ 4478827 h 5195321"/>
                <a:gd name="connsiteX142" fmla="*/ 997427 w 5195299"/>
                <a:gd name="connsiteY142" fmla="*/ 4478671 h 5195321"/>
                <a:gd name="connsiteX143" fmla="*/ 1469071 w 5195299"/>
                <a:gd name="connsiteY143" fmla="*/ 4459880 h 5195321"/>
                <a:gd name="connsiteX144" fmla="*/ 1545538 w 5195299"/>
                <a:gd name="connsiteY144" fmla="*/ 4530527 h 5195321"/>
                <a:gd name="connsiteX145" fmla="*/ 1474891 w 5195299"/>
                <a:gd name="connsiteY145" fmla="*/ 4606993 h 5195321"/>
                <a:gd name="connsiteX146" fmla="*/ 1208801 w 5195299"/>
                <a:gd name="connsiteY146" fmla="*/ 4617633 h 5195321"/>
                <a:gd name="connsiteX147" fmla="*/ 2597056 w 5195299"/>
                <a:gd name="connsiteY147" fmla="*/ 5051803 h 5195321"/>
                <a:gd name="connsiteX148" fmla="*/ 4330072 w 5195299"/>
                <a:gd name="connsiteY148" fmla="*/ 4330645 h 5195321"/>
                <a:gd name="connsiteX149" fmla="*/ 4494782 w 5195299"/>
                <a:gd name="connsiteY149" fmla="*/ 1047133 h 5195321"/>
                <a:gd name="connsiteX150" fmla="*/ 4505069 w 5195299"/>
                <a:gd name="connsiteY150" fmla="*/ 943538 h 5195321"/>
                <a:gd name="connsiteX151" fmla="*/ 4608674 w 5195299"/>
                <a:gd name="connsiteY151" fmla="*/ 953835 h 5195321"/>
                <a:gd name="connsiteX152" fmla="*/ 5192446 w 5195299"/>
                <a:gd name="connsiteY152" fmla="*/ 2719476 h 5195321"/>
                <a:gd name="connsiteX153" fmla="*/ 2597693 w 5195299"/>
                <a:gd name="connsiteY153" fmla="*/ 3533873 h 5195321"/>
                <a:gd name="connsiteX154" fmla="*/ 3533927 w 5195299"/>
                <a:gd name="connsiteY154" fmla="*/ 2597639 h 5195321"/>
                <a:gd name="connsiteX155" fmla="*/ 2597693 w 5195299"/>
                <a:gd name="connsiteY155" fmla="*/ 1661365 h 5195321"/>
                <a:gd name="connsiteX156" fmla="*/ 1661458 w 5195299"/>
                <a:gd name="connsiteY156" fmla="*/ 2597639 h 5195321"/>
                <a:gd name="connsiteX157" fmla="*/ 2597693 w 5195299"/>
                <a:gd name="connsiteY157" fmla="*/ 3533873 h 5195321"/>
                <a:gd name="connsiteX158" fmla="*/ 2597693 w 5195299"/>
                <a:gd name="connsiteY158" fmla="*/ 1808596 h 5195321"/>
                <a:gd name="connsiteX159" fmla="*/ 3386706 w 5195299"/>
                <a:gd name="connsiteY159" fmla="*/ 2597609 h 5195321"/>
                <a:gd name="connsiteX160" fmla="*/ 2597693 w 5195299"/>
                <a:gd name="connsiteY160" fmla="*/ 3386622 h 5195321"/>
                <a:gd name="connsiteX161" fmla="*/ 1808680 w 5195299"/>
                <a:gd name="connsiteY161" fmla="*/ 2597609 h 5195321"/>
                <a:gd name="connsiteX162" fmla="*/ 2597693 w 5195299"/>
                <a:gd name="connsiteY162" fmla="*/ 1808596 h 5195321"/>
                <a:gd name="connsiteX163" fmla="*/ 2292179 w 5195299"/>
                <a:gd name="connsiteY163" fmla="*/ 2394318 h 5195321"/>
                <a:gd name="connsiteX164" fmla="*/ 2522833 w 5195299"/>
                <a:gd name="connsiteY164" fmla="*/ 2122105 h 5195321"/>
                <a:gd name="connsiteX165" fmla="*/ 2521412 w 5195299"/>
                <a:gd name="connsiteY165" fmla="*/ 2061294 h 5195321"/>
                <a:gd name="connsiteX166" fmla="*/ 2593245 w 5195299"/>
                <a:gd name="connsiteY166" fmla="*/ 1985905 h 5195321"/>
                <a:gd name="connsiteX167" fmla="*/ 2668644 w 5195299"/>
                <a:gd name="connsiteY167" fmla="*/ 2057738 h 5195321"/>
                <a:gd name="connsiteX168" fmla="*/ 2670250 w 5195299"/>
                <a:gd name="connsiteY168" fmla="*/ 2123907 h 5195321"/>
                <a:gd name="connsiteX169" fmla="*/ 2865086 w 5195299"/>
                <a:gd name="connsiteY169" fmla="*/ 2242433 h 5195321"/>
                <a:gd name="connsiteX170" fmla="*/ 2844003 w 5195299"/>
                <a:gd name="connsiteY170" fmla="*/ 2344382 h 5195321"/>
                <a:gd name="connsiteX171" fmla="*/ 2742053 w 5195299"/>
                <a:gd name="connsiteY171" fmla="*/ 2323289 h 5195321"/>
                <a:gd name="connsiteX172" fmla="*/ 2597810 w 5195299"/>
                <a:gd name="connsiteY172" fmla="*/ 2260764 h 5195321"/>
                <a:gd name="connsiteX173" fmla="*/ 2439488 w 5195299"/>
                <a:gd name="connsiteY173" fmla="*/ 2394240 h 5195321"/>
                <a:gd name="connsiteX174" fmla="*/ 2597810 w 5195299"/>
                <a:gd name="connsiteY174" fmla="*/ 2527726 h 5195321"/>
                <a:gd name="connsiteX175" fmla="*/ 2903324 w 5195299"/>
                <a:gd name="connsiteY175" fmla="*/ 2808434 h 5195321"/>
                <a:gd name="connsiteX176" fmla="*/ 2672827 w 5195299"/>
                <a:gd name="connsiteY176" fmla="*/ 3080579 h 5195321"/>
                <a:gd name="connsiteX177" fmla="*/ 2674120 w 5195299"/>
                <a:gd name="connsiteY177" fmla="*/ 3133768 h 5195321"/>
                <a:gd name="connsiteX178" fmla="*/ 2602287 w 5195299"/>
                <a:gd name="connsiteY178" fmla="*/ 3209166 h 5195321"/>
                <a:gd name="connsiteX179" fmla="*/ 2600456 w 5195299"/>
                <a:gd name="connsiteY179" fmla="*/ 3209166 h 5195321"/>
                <a:gd name="connsiteX180" fmla="*/ 2526898 w 5195299"/>
                <a:gd name="connsiteY180" fmla="*/ 3137334 h 5195321"/>
                <a:gd name="connsiteX181" fmla="*/ 2525595 w 5195299"/>
                <a:gd name="connsiteY181" fmla="*/ 3081872 h 5195321"/>
                <a:gd name="connsiteX182" fmla="*/ 2353224 w 5195299"/>
                <a:gd name="connsiteY182" fmla="*/ 2980031 h 5195321"/>
                <a:gd name="connsiteX183" fmla="*/ 2350207 w 5195299"/>
                <a:gd name="connsiteY183" fmla="*/ 2875975 h 5195321"/>
                <a:gd name="connsiteX184" fmla="*/ 2454262 w 5195299"/>
                <a:gd name="connsiteY184" fmla="*/ 2872958 h 5195321"/>
                <a:gd name="connsiteX185" fmla="*/ 2597771 w 5195299"/>
                <a:gd name="connsiteY185" fmla="*/ 2941881 h 5195321"/>
                <a:gd name="connsiteX186" fmla="*/ 2756093 w 5195299"/>
                <a:gd name="connsiteY186" fmla="*/ 2808395 h 5195321"/>
                <a:gd name="connsiteX187" fmla="*/ 2597771 w 5195299"/>
                <a:gd name="connsiteY187" fmla="*/ 2674909 h 5195321"/>
                <a:gd name="connsiteX188" fmla="*/ 2292188 w 5195299"/>
                <a:gd name="connsiteY188" fmla="*/ 2394309 h 51953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</a:cxnLst>
              <a:rect l="l" t="t" r="r" b="b"/>
              <a:pathLst>
                <a:path w="5195299" h="5195321">
                  <a:moveTo>
                    <a:pt x="1219078" y="3168695"/>
                  </a:moveTo>
                  <a:cubicBezTo>
                    <a:pt x="1259148" y="3265402"/>
                    <a:pt x="1261784" y="3408764"/>
                    <a:pt x="1149195" y="3521353"/>
                  </a:cubicBezTo>
                  <a:cubicBezTo>
                    <a:pt x="1074492" y="3596056"/>
                    <a:pt x="1074492" y="3717560"/>
                    <a:pt x="1149195" y="3792224"/>
                  </a:cubicBezTo>
                  <a:lnTo>
                    <a:pt x="1403117" y="4046146"/>
                  </a:lnTo>
                  <a:cubicBezTo>
                    <a:pt x="1439288" y="4082307"/>
                    <a:pt x="1487431" y="4102254"/>
                    <a:pt x="1538553" y="4102254"/>
                  </a:cubicBezTo>
                  <a:cubicBezTo>
                    <a:pt x="1589723" y="4102254"/>
                    <a:pt x="1637827" y="4082307"/>
                    <a:pt x="1673988" y="4046146"/>
                  </a:cubicBezTo>
                  <a:cubicBezTo>
                    <a:pt x="1786734" y="3933401"/>
                    <a:pt x="1930135" y="3935967"/>
                    <a:pt x="2026764" y="3975959"/>
                  </a:cubicBezTo>
                  <a:cubicBezTo>
                    <a:pt x="2123364" y="4015951"/>
                    <a:pt x="2226606" y="4115569"/>
                    <a:pt x="2226606" y="4275037"/>
                  </a:cubicBezTo>
                  <a:cubicBezTo>
                    <a:pt x="2226606" y="4380660"/>
                    <a:pt x="2312566" y="4466620"/>
                    <a:pt x="2418189" y="4466620"/>
                  </a:cubicBezTo>
                  <a:lnTo>
                    <a:pt x="2777274" y="4466620"/>
                  </a:lnTo>
                  <a:cubicBezTo>
                    <a:pt x="2882897" y="4466620"/>
                    <a:pt x="2968857" y="4380660"/>
                    <a:pt x="2968857" y="4275037"/>
                  </a:cubicBezTo>
                  <a:cubicBezTo>
                    <a:pt x="2968857" y="4115833"/>
                    <a:pt x="3072110" y="4016333"/>
                    <a:pt x="3168817" y="3976263"/>
                  </a:cubicBezTo>
                  <a:cubicBezTo>
                    <a:pt x="3265525" y="3936193"/>
                    <a:pt x="3408886" y="3933548"/>
                    <a:pt x="3521475" y="4046146"/>
                  </a:cubicBezTo>
                  <a:cubicBezTo>
                    <a:pt x="3557646" y="4082307"/>
                    <a:pt x="3605789" y="4102245"/>
                    <a:pt x="3656911" y="4102245"/>
                  </a:cubicBezTo>
                  <a:cubicBezTo>
                    <a:pt x="3708081" y="4102245"/>
                    <a:pt x="3756185" y="4082307"/>
                    <a:pt x="3792346" y="4046146"/>
                  </a:cubicBezTo>
                  <a:lnTo>
                    <a:pt x="4046269" y="3792224"/>
                  </a:lnTo>
                  <a:cubicBezTo>
                    <a:pt x="4120972" y="3717521"/>
                    <a:pt x="4120972" y="3596017"/>
                    <a:pt x="4046269" y="3521353"/>
                  </a:cubicBezTo>
                  <a:cubicBezTo>
                    <a:pt x="3933680" y="3408764"/>
                    <a:pt x="3936355" y="3265324"/>
                    <a:pt x="3976386" y="3168695"/>
                  </a:cubicBezTo>
                  <a:cubicBezTo>
                    <a:pt x="4016456" y="3072055"/>
                    <a:pt x="4115956" y="2968735"/>
                    <a:pt x="4275160" y="2968735"/>
                  </a:cubicBezTo>
                  <a:cubicBezTo>
                    <a:pt x="4380783" y="2968735"/>
                    <a:pt x="4466743" y="2882775"/>
                    <a:pt x="4466743" y="2777152"/>
                  </a:cubicBezTo>
                  <a:lnTo>
                    <a:pt x="4466743" y="2418067"/>
                  </a:lnTo>
                  <a:cubicBezTo>
                    <a:pt x="4466743" y="2312444"/>
                    <a:pt x="4380792" y="2226484"/>
                    <a:pt x="4275160" y="2226484"/>
                  </a:cubicBezTo>
                  <a:cubicBezTo>
                    <a:pt x="4115956" y="2226484"/>
                    <a:pt x="4016378" y="2123231"/>
                    <a:pt x="3976386" y="2026524"/>
                  </a:cubicBezTo>
                  <a:cubicBezTo>
                    <a:pt x="3936325" y="1929816"/>
                    <a:pt x="3933680" y="1786455"/>
                    <a:pt x="4046269" y="1673866"/>
                  </a:cubicBezTo>
                  <a:cubicBezTo>
                    <a:pt x="4120972" y="1599163"/>
                    <a:pt x="4120972" y="1477659"/>
                    <a:pt x="4046269" y="1402994"/>
                  </a:cubicBezTo>
                  <a:lnTo>
                    <a:pt x="3792346" y="1149072"/>
                  </a:lnTo>
                  <a:cubicBezTo>
                    <a:pt x="3756185" y="1112901"/>
                    <a:pt x="3708042" y="1092964"/>
                    <a:pt x="3656911" y="1092964"/>
                  </a:cubicBezTo>
                  <a:cubicBezTo>
                    <a:pt x="3605740" y="1092964"/>
                    <a:pt x="3557636" y="1112901"/>
                    <a:pt x="3521475" y="1149072"/>
                  </a:cubicBezTo>
                  <a:cubicBezTo>
                    <a:pt x="3408886" y="1261661"/>
                    <a:pt x="3265446" y="1259026"/>
                    <a:pt x="3168817" y="1218955"/>
                  </a:cubicBezTo>
                  <a:cubicBezTo>
                    <a:pt x="3072188" y="1178885"/>
                    <a:pt x="2968857" y="1079385"/>
                    <a:pt x="2968857" y="920181"/>
                  </a:cubicBezTo>
                  <a:cubicBezTo>
                    <a:pt x="2968857" y="814554"/>
                    <a:pt x="2882907" y="728593"/>
                    <a:pt x="2777274" y="728593"/>
                  </a:cubicBezTo>
                  <a:lnTo>
                    <a:pt x="2418189" y="728593"/>
                  </a:lnTo>
                  <a:cubicBezTo>
                    <a:pt x="2312566" y="728593"/>
                    <a:pt x="2226606" y="814548"/>
                    <a:pt x="2226606" y="920181"/>
                  </a:cubicBezTo>
                  <a:cubicBezTo>
                    <a:pt x="2226606" y="1079385"/>
                    <a:pt x="2123354" y="1178963"/>
                    <a:pt x="2026647" y="1218955"/>
                  </a:cubicBezTo>
                  <a:cubicBezTo>
                    <a:pt x="1930017" y="1259016"/>
                    <a:pt x="1786577" y="1261661"/>
                    <a:pt x="1673988" y="1149072"/>
                  </a:cubicBezTo>
                  <a:cubicBezTo>
                    <a:pt x="1599285" y="1074369"/>
                    <a:pt x="1477781" y="1074369"/>
                    <a:pt x="1403117" y="1149072"/>
                  </a:cubicBezTo>
                  <a:lnTo>
                    <a:pt x="1149195" y="1402994"/>
                  </a:lnTo>
                  <a:cubicBezTo>
                    <a:pt x="1074492" y="1477698"/>
                    <a:pt x="1074492" y="1599202"/>
                    <a:pt x="1149195" y="1673866"/>
                  </a:cubicBezTo>
                  <a:cubicBezTo>
                    <a:pt x="1261784" y="1786455"/>
                    <a:pt x="1259148" y="1929895"/>
                    <a:pt x="1219078" y="2026524"/>
                  </a:cubicBezTo>
                  <a:cubicBezTo>
                    <a:pt x="1179007" y="2123153"/>
                    <a:pt x="1079508" y="2226484"/>
                    <a:pt x="920304" y="2226484"/>
                  </a:cubicBezTo>
                  <a:cubicBezTo>
                    <a:pt x="814681" y="2226484"/>
                    <a:pt x="728721" y="2312434"/>
                    <a:pt x="728721" y="2418067"/>
                  </a:cubicBezTo>
                  <a:lnTo>
                    <a:pt x="728721" y="2777152"/>
                  </a:lnTo>
                  <a:cubicBezTo>
                    <a:pt x="728721" y="2882775"/>
                    <a:pt x="814671" y="2968735"/>
                    <a:pt x="920304" y="2968735"/>
                  </a:cubicBezTo>
                  <a:cubicBezTo>
                    <a:pt x="1079547" y="2968735"/>
                    <a:pt x="1179086" y="3072026"/>
                    <a:pt x="1219078" y="3168695"/>
                  </a:cubicBezTo>
                  <a:close/>
                  <a:moveTo>
                    <a:pt x="876021" y="2777191"/>
                  </a:moveTo>
                  <a:lnTo>
                    <a:pt x="876021" y="2418106"/>
                  </a:lnTo>
                  <a:cubicBezTo>
                    <a:pt x="876021" y="2393652"/>
                    <a:pt x="895919" y="2373833"/>
                    <a:pt x="920294" y="2373833"/>
                  </a:cubicBezTo>
                  <a:cubicBezTo>
                    <a:pt x="1114219" y="2373833"/>
                    <a:pt x="1280810" y="2262390"/>
                    <a:pt x="1355091" y="2082965"/>
                  </a:cubicBezTo>
                  <a:cubicBezTo>
                    <a:pt x="1429373" y="1903570"/>
                    <a:pt x="1390410" y="1706931"/>
                    <a:pt x="1253280" y="1569801"/>
                  </a:cubicBezTo>
                  <a:cubicBezTo>
                    <a:pt x="1236027" y="1552548"/>
                    <a:pt x="1236027" y="1524420"/>
                    <a:pt x="1253280" y="1507119"/>
                  </a:cubicBezTo>
                  <a:lnTo>
                    <a:pt x="1507202" y="1253196"/>
                  </a:lnTo>
                  <a:cubicBezTo>
                    <a:pt x="1515549" y="1244859"/>
                    <a:pt x="1526688" y="1240225"/>
                    <a:pt x="1538514" y="1240225"/>
                  </a:cubicBezTo>
                  <a:cubicBezTo>
                    <a:pt x="1550339" y="1240225"/>
                    <a:pt x="1561478" y="1244859"/>
                    <a:pt x="1569816" y="1253196"/>
                  </a:cubicBezTo>
                  <a:cubicBezTo>
                    <a:pt x="1706936" y="1390317"/>
                    <a:pt x="1903526" y="1429320"/>
                    <a:pt x="2082980" y="1354998"/>
                  </a:cubicBezTo>
                  <a:cubicBezTo>
                    <a:pt x="2262385" y="1280716"/>
                    <a:pt x="2373838" y="1114047"/>
                    <a:pt x="2373838" y="920211"/>
                  </a:cubicBezTo>
                  <a:cubicBezTo>
                    <a:pt x="2373838" y="895757"/>
                    <a:pt x="2393736" y="875938"/>
                    <a:pt x="2418121" y="875938"/>
                  </a:cubicBezTo>
                  <a:lnTo>
                    <a:pt x="2777206" y="875938"/>
                  </a:lnTo>
                  <a:cubicBezTo>
                    <a:pt x="2801659" y="875938"/>
                    <a:pt x="2821479" y="895836"/>
                    <a:pt x="2821479" y="920211"/>
                  </a:cubicBezTo>
                  <a:cubicBezTo>
                    <a:pt x="2821479" y="1114126"/>
                    <a:pt x="2932922" y="1280716"/>
                    <a:pt x="3112337" y="1354998"/>
                  </a:cubicBezTo>
                  <a:cubicBezTo>
                    <a:pt x="3291742" y="1429280"/>
                    <a:pt x="3488380" y="1390327"/>
                    <a:pt x="3625501" y="1253196"/>
                  </a:cubicBezTo>
                  <a:cubicBezTo>
                    <a:pt x="3633848" y="1244859"/>
                    <a:pt x="3644978" y="1240225"/>
                    <a:pt x="3656803" y="1240225"/>
                  </a:cubicBezTo>
                  <a:cubicBezTo>
                    <a:pt x="3668628" y="1240225"/>
                    <a:pt x="3679767" y="1244859"/>
                    <a:pt x="3688115" y="1253196"/>
                  </a:cubicBezTo>
                  <a:lnTo>
                    <a:pt x="3942037" y="1507119"/>
                  </a:lnTo>
                  <a:cubicBezTo>
                    <a:pt x="3959290" y="1524381"/>
                    <a:pt x="3959290" y="1552509"/>
                    <a:pt x="3942037" y="1569801"/>
                  </a:cubicBezTo>
                  <a:cubicBezTo>
                    <a:pt x="3804916" y="1706931"/>
                    <a:pt x="3765914" y="1903550"/>
                    <a:pt x="3840235" y="2082965"/>
                  </a:cubicBezTo>
                  <a:cubicBezTo>
                    <a:pt x="3914517" y="2262371"/>
                    <a:pt x="4081186" y="2373833"/>
                    <a:pt x="4275023" y="2373833"/>
                  </a:cubicBezTo>
                  <a:cubicBezTo>
                    <a:pt x="4299476" y="2373833"/>
                    <a:pt x="4319296" y="2393731"/>
                    <a:pt x="4319296" y="2418106"/>
                  </a:cubicBezTo>
                  <a:lnTo>
                    <a:pt x="4319296" y="2777191"/>
                  </a:lnTo>
                  <a:cubicBezTo>
                    <a:pt x="4319296" y="2801645"/>
                    <a:pt x="4299398" y="2821474"/>
                    <a:pt x="4275023" y="2821474"/>
                  </a:cubicBezTo>
                  <a:cubicBezTo>
                    <a:pt x="4081107" y="2821474"/>
                    <a:pt x="3914517" y="2932916"/>
                    <a:pt x="3840235" y="3112322"/>
                  </a:cubicBezTo>
                  <a:cubicBezTo>
                    <a:pt x="3765953" y="3291737"/>
                    <a:pt x="3804906" y="3488365"/>
                    <a:pt x="3942037" y="3625486"/>
                  </a:cubicBezTo>
                  <a:cubicBezTo>
                    <a:pt x="3950374" y="3633833"/>
                    <a:pt x="3955008" y="3644973"/>
                    <a:pt x="3955008" y="3656798"/>
                  </a:cubicBezTo>
                  <a:cubicBezTo>
                    <a:pt x="3955008" y="3668623"/>
                    <a:pt x="3950374" y="3679762"/>
                    <a:pt x="3942037" y="3688100"/>
                  </a:cubicBezTo>
                  <a:lnTo>
                    <a:pt x="3688115" y="3942022"/>
                  </a:lnTo>
                  <a:cubicBezTo>
                    <a:pt x="3679767" y="3950369"/>
                    <a:pt x="3668628" y="3954994"/>
                    <a:pt x="3656803" y="3954994"/>
                  </a:cubicBezTo>
                  <a:cubicBezTo>
                    <a:pt x="3644978" y="3954994"/>
                    <a:pt x="3633848" y="3950369"/>
                    <a:pt x="3625501" y="3942022"/>
                  </a:cubicBezTo>
                  <a:cubicBezTo>
                    <a:pt x="3488380" y="3804901"/>
                    <a:pt x="3291751" y="3765938"/>
                    <a:pt x="3112337" y="3840220"/>
                  </a:cubicBezTo>
                  <a:cubicBezTo>
                    <a:pt x="2932922" y="3914502"/>
                    <a:pt x="2821479" y="4081171"/>
                    <a:pt x="2821479" y="4275008"/>
                  </a:cubicBezTo>
                  <a:cubicBezTo>
                    <a:pt x="2821479" y="4299461"/>
                    <a:pt x="2801581" y="4319291"/>
                    <a:pt x="2777206" y="4319291"/>
                  </a:cubicBezTo>
                  <a:lnTo>
                    <a:pt x="2418121" y="4319291"/>
                  </a:lnTo>
                  <a:cubicBezTo>
                    <a:pt x="2393667" y="4319291"/>
                    <a:pt x="2373838" y="4299383"/>
                    <a:pt x="2373838" y="4275008"/>
                  </a:cubicBezTo>
                  <a:cubicBezTo>
                    <a:pt x="2373838" y="4080936"/>
                    <a:pt x="2262434" y="3914159"/>
                    <a:pt x="2083098" y="3839916"/>
                  </a:cubicBezTo>
                  <a:cubicBezTo>
                    <a:pt x="2022973" y="3815002"/>
                    <a:pt x="1960976" y="3802873"/>
                    <a:pt x="1899862" y="3802873"/>
                  </a:cubicBezTo>
                  <a:cubicBezTo>
                    <a:pt x="1778661" y="3802873"/>
                    <a:pt x="1661096" y="3850752"/>
                    <a:pt x="1569816" y="3942022"/>
                  </a:cubicBezTo>
                  <a:cubicBezTo>
                    <a:pt x="1561478" y="3950360"/>
                    <a:pt x="1550339" y="3954994"/>
                    <a:pt x="1538514" y="3954994"/>
                  </a:cubicBezTo>
                  <a:cubicBezTo>
                    <a:pt x="1526688" y="3954994"/>
                    <a:pt x="1515549" y="3950360"/>
                    <a:pt x="1507202" y="3942022"/>
                  </a:cubicBezTo>
                  <a:lnTo>
                    <a:pt x="1253280" y="3688100"/>
                  </a:lnTo>
                  <a:cubicBezTo>
                    <a:pt x="1244942" y="3679753"/>
                    <a:pt x="1240308" y="3668623"/>
                    <a:pt x="1240308" y="3656798"/>
                  </a:cubicBezTo>
                  <a:cubicBezTo>
                    <a:pt x="1240308" y="3644973"/>
                    <a:pt x="1244942" y="3633833"/>
                    <a:pt x="1253280" y="3625486"/>
                  </a:cubicBezTo>
                  <a:cubicBezTo>
                    <a:pt x="1390410" y="3488365"/>
                    <a:pt x="1429413" y="3291737"/>
                    <a:pt x="1355091" y="3112322"/>
                  </a:cubicBezTo>
                  <a:cubicBezTo>
                    <a:pt x="1280810" y="2932916"/>
                    <a:pt x="1114131" y="2821464"/>
                    <a:pt x="920294" y="2821464"/>
                  </a:cubicBezTo>
                  <a:cubicBezTo>
                    <a:pt x="895841" y="2821503"/>
                    <a:pt x="876021" y="2801645"/>
                    <a:pt x="876021" y="2777191"/>
                  </a:cubicBezTo>
                  <a:close/>
                  <a:moveTo>
                    <a:pt x="700280" y="4148497"/>
                  </a:moveTo>
                  <a:cubicBezTo>
                    <a:pt x="726037" y="4179916"/>
                    <a:pt x="721442" y="4226335"/>
                    <a:pt x="689983" y="4252092"/>
                  </a:cubicBezTo>
                  <a:cubicBezTo>
                    <a:pt x="676326" y="4263300"/>
                    <a:pt x="659749" y="4268776"/>
                    <a:pt x="643339" y="4268776"/>
                  </a:cubicBezTo>
                  <a:cubicBezTo>
                    <a:pt x="622020" y="4268776"/>
                    <a:pt x="600927" y="4259597"/>
                    <a:pt x="586349" y="4241795"/>
                  </a:cubicBezTo>
                  <a:cubicBezTo>
                    <a:pt x="180071" y="3745972"/>
                    <a:pt x="-27079" y="3118847"/>
                    <a:pt x="2842" y="2475860"/>
                  </a:cubicBezTo>
                  <a:cubicBezTo>
                    <a:pt x="32998" y="1828524"/>
                    <a:pt x="302193" y="1219377"/>
                    <a:pt x="760816" y="760872"/>
                  </a:cubicBezTo>
                  <a:cubicBezTo>
                    <a:pt x="1219479" y="302248"/>
                    <a:pt x="1828509" y="33091"/>
                    <a:pt x="2475806" y="2857"/>
                  </a:cubicBezTo>
                  <a:cubicBezTo>
                    <a:pt x="3048978" y="-23894"/>
                    <a:pt x="3609532" y="137833"/>
                    <a:pt x="4075680" y="461099"/>
                  </a:cubicBezTo>
                  <a:lnTo>
                    <a:pt x="4013380" y="201132"/>
                  </a:lnTo>
                  <a:cubicBezTo>
                    <a:pt x="4003886" y="161598"/>
                    <a:pt x="4028301" y="121875"/>
                    <a:pt x="4067793" y="112384"/>
                  </a:cubicBezTo>
                  <a:cubicBezTo>
                    <a:pt x="4107334" y="102893"/>
                    <a:pt x="4147052" y="127308"/>
                    <a:pt x="4156545" y="166804"/>
                  </a:cubicBezTo>
                  <a:lnTo>
                    <a:pt x="4266460" y="625398"/>
                  </a:lnTo>
                  <a:cubicBezTo>
                    <a:pt x="4267077" y="627809"/>
                    <a:pt x="4267528" y="630259"/>
                    <a:pt x="4267880" y="632784"/>
                  </a:cubicBezTo>
                  <a:lnTo>
                    <a:pt x="4267880" y="632822"/>
                  </a:lnTo>
                  <a:cubicBezTo>
                    <a:pt x="4268223" y="635348"/>
                    <a:pt x="4268449" y="637836"/>
                    <a:pt x="4268566" y="640361"/>
                  </a:cubicBezTo>
                  <a:cubicBezTo>
                    <a:pt x="4269252" y="657354"/>
                    <a:pt x="4264167" y="674537"/>
                    <a:pt x="4252832" y="688811"/>
                  </a:cubicBezTo>
                  <a:cubicBezTo>
                    <a:pt x="4252146" y="689730"/>
                    <a:pt x="4251421" y="690572"/>
                    <a:pt x="4250657" y="691453"/>
                  </a:cubicBezTo>
                  <a:cubicBezTo>
                    <a:pt x="4238871" y="705038"/>
                    <a:pt x="4223176" y="713343"/>
                    <a:pt x="4206609" y="715984"/>
                  </a:cubicBezTo>
                  <a:cubicBezTo>
                    <a:pt x="4204385" y="716327"/>
                    <a:pt x="4202092" y="716596"/>
                    <a:pt x="4199790" y="716711"/>
                  </a:cubicBezTo>
                  <a:lnTo>
                    <a:pt x="4199683" y="716711"/>
                  </a:lnTo>
                  <a:cubicBezTo>
                    <a:pt x="4198987" y="716749"/>
                    <a:pt x="4198262" y="716749"/>
                    <a:pt x="4197576" y="716825"/>
                  </a:cubicBezTo>
                  <a:lnTo>
                    <a:pt x="3725863" y="735616"/>
                  </a:lnTo>
                  <a:cubicBezTo>
                    <a:pt x="3685528" y="737224"/>
                    <a:pt x="3651003" y="705612"/>
                    <a:pt x="3649396" y="664970"/>
                  </a:cubicBezTo>
                  <a:cubicBezTo>
                    <a:pt x="3647789" y="624327"/>
                    <a:pt x="3679405" y="590114"/>
                    <a:pt x="3720043" y="588506"/>
                  </a:cubicBezTo>
                  <a:lnTo>
                    <a:pt x="3986134" y="577867"/>
                  </a:lnTo>
                  <a:cubicBezTo>
                    <a:pt x="3019969" y="-90484"/>
                    <a:pt x="1711139" y="18666"/>
                    <a:pt x="864862" y="864975"/>
                  </a:cubicBezTo>
                  <a:cubicBezTo>
                    <a:pt x="-29775" y="1759571"/>
                    <a:pt x="-100579" y="3171222"/>
                    <a:pt x="700153" y="4148487"/>
                  </a:cubicBezTo>
                  <a:close/>
                  <a:moveTo>
                    <a:pt x="5192466" y="2719486"/>
                  </a:moveTo>
                  <a:cubicBezTo>
                    <a:pt x="5162310" y="3366822"/>
                    <a:pt x="4893114" y="3975969"/>
                    <a:pt x="4434490" y="4434476"/>
                  </a:cubicBezTo>
                  <a:cubicBezTo>
                    <a:pt x="3975896" y="4893070"/>
                    <a:pt x="3366798" y="5162296"/>
                    <a:pt x="2719500" y="5192451"/>
                  </a:cubicBezTo>
                  <a:cubicBezTo>
                    <a:pt x="2678627" y="5194322"/>
                    <a:pt x="2637831" y="5195322"/>
                    <a:pt x="2597154" y="5195322"/>
                  </a:cubicBezTo>
                  <a:cubicBezTo>
                    <a:pt x="2066923" y="5195322"/>
                    <a:pt x="1552484" y="5034433"/>
                    <a:pt x="1119549" y="4734249"/>
                  </a:cubicBezTo>
                  <a:lnTo>
                    <a:pt x="1181849" y="4994216"/>
                  </a:lnTo>
                  <a:cubicBezTo>
                    <a:pt x="1191342" y="5033747"/>
                    <a:pt x="1166928" y="5073474"/>
                    <a:pt x="1127435" y="5082968"/>
                  </a:cubicBezTo>
                  <a:cubicBezTo>
                    <a:pt x="1087904" y="5092452"/>
                    <a:pt x="1048176" y="5068037"/>
                    <a:pt x="1038683" y="5028545"/>
                  </a:cubicBezTo>
                  <a:lnTo>
                    <a:pt x="928769" y="4569950"/>
                  </a:lnTo>
                  <a:cubicBezTo>
                    <a:pt x="928201" y="4567619"/>
                    <a:pt x="927701" y="4565199"/>
                    <a:pt x="927358" y="4562750"/>
                  </a:cubicBezTo>
                  <a:cubicBezTo>
                    <a:pt x="926976" y="4560193"/>
                    <a:pt x="926741" y="4557547"/>
                    <a:pt x="926623" y="4554990"/>
                  </a:cubicBezTo>
                  <a:cubicBezTo>
                    <a:pt x="925937" y="4537610"/>
                    <a:pt x="931297" y="4519965"/>
                    <a:pt x="943161" y="4505426"/>
                  </a:cubicBezTo>
                  <a:cubicBezTo>
                    <a:pt x="943161" y="4505426"/>
                    <a:pt x="943200" y="4505387"/>
                    <a:pt x="943200" y="4505387"/>
                  </a:cubicBezTo>
                  <a:lnTo>
                    <a:pt x="943239" y="4505348"/>
                  </a:lnTo>
                  <a:cubicBezTo>
                    <a:pt x="943239" y="4505309"/>
                    <a:pt x="943278" y="4505309"/>
                    <a:pt x="943278" y="4505231"/>
                  </a:cubicBezTo>
                  <a:lnTo>
                    <a:pt x="943308" y="4505191"/>
                  </a:lnTo>
                  <a:cubicBezTo>
                    <a:pt x="943308" y="4505191"/>
                    <a:pt x="943308" y="4505162"/>
                    <a:pt x="943347" y="4505162"/>
                  </a:cubicBezTo>
                  <a:cubicBezTo>
                    <a:pt x="943347" y="4505162"/>
                    <a:pt x="943347" y="4505123"/>
                    <a:pt x="943386" y="4505123"/>
                  </a:cubicBezTo>
                  <a:lnTo>
                    <a:pt x="943425" y="4505084"/>
                  </a:lnTo>
                  <a:cubicBezTo>
                    <a:pt x="955446" y="4490692"/>
                    <a:pt x="971788" y="4482041"/>
                    <a:pt x="988972" y="4479405"/>
                  </a:cubicBezTo>
                  <a:lnTo>
                    <a:pt x="989080" y="4479405"/>
                  </a:lnTo>
                  <a:cubicBezTo>
                    <a:pt x="990804" y="4479170"/>
                    <a:pt x="992529" y="4478945"/>
                    <a:pt x="994214" y="4478827"/>
                  </a:cubicBezTo>
                  <a:lnTo>
                    <a:pt x="994322" y="4478827"/>
                  </a:lnTo>
                  <a:cubicBezTo>
                    <a:pt x="995360" y="4478788"/>
                    <a:pt x="996389" y="4478710"/>
                    <a:pt x="997427" y="4478671"/>
                  </a:cubicBezTo>
                  <a:lnTo>
                    <a:pt x="1469071" y="4459880"/>
                  </a:lnTo>
                  <a:cubicBezTo>
                    <a:pt x="1509602" y="4458508"/>
                    <a:pt x="1543922" y="4489888"/>
                    <a:pt x="1545538" y="4530527"/>
                  </a:cubicBezTo>
                  <a:cubicBezTo>
                    <a:pt x="1547145" y="4571175"/>
                    <a:pt x="1515530" y="4605387"/>
                    <a:pt x="1474891" y="4606993"/>
                  </a:cubicBezTo>
                  <a:lnTo>
                    <a:pt x="1208801" y="4617633"/>
                  </a:lnTo>
                  <a:cubicBezTo>
                    <a:pt x="1628853" y="4908178"/>
                    <a:pt x="2113655" y="5051803"/>
                    <a:pt x="2597056" y="5051803"/>
                  </a:cubicBezTo>
                  <a:cubicBezTo>
                    <a:pt x="3225641" y="5051843"/>
                    <a:pt x="3851776" y="4809020"/>
                    <a:pt x="4330072" y="4330645"/>
                  </a:cubicBezTo>
                  <a:cubicBezTo>
                    <a:pt x="5224709" y="3436010"/>
                    <a:pt x="5295512" y="2024398"/>
                    <a:pt x="4494782" y="1047133"/>
                  </a:cubicBezTo>
                  <a:cubicBezTo>
                    <a:pt x="4469026" y="1015713"/>
                    <a:pt x="4473610" y="969295"/>
                    <a:pt x="4505069" y="943538"/>
                  </a:cubicBezTo>
                  <a:cubicBezTo>
                    <a:pt x="4536498" y="917781"/>
                    <a:pt x="4582917" y="922376"/>
                    <a:pt x="4608674" y="953835"/>
                  </a:cubicBezTo>
                  <a:cubicBezTo>
                    <a:pt x="5015206" y="1449315"/>
                    <a:pt x="5222436" y="2076489"/>
                    <a:pt x="5192446" y="2719476"/>
                  </a:cubicBezTo>
                  <a:close/>
                  <a:moveTo>
                    <a:pt x="2597693" y="3533873"/>
                  </a:moveTo>
                  <a:cubicBezTo>
                    <a:pt x="3113914" y="3533873"/>
                    <a:pt x="3533927" y="3113860"/>
                    <a:pt x="3533927" y="2597639"/>
                  </a:cubicBezTo>
                  <a:cubicBezTo>
                    <a:pt x="3533927" y="2081417"/>
                    <a:pt x="3113914" y="1661365"/>
                    <a:pt x="2597693" y="1661365"/>
                  </a:cubicBezTo>
                  <a:cubicBezTo>
                    <a:pt x="2081471" y="1661365"/>
                    <a:pt x="1661458" y="2081417"/>
                    <a:pt x="1661458" y="2597639"/>
                  </a:cubicBezTo>
                  <a:cubicBezTo>
                    <a:pt x="1661458" y="3113860"/>
                    <a:pt x="2081471" y="3533873"/>
                    <a:pt x="2597693" y="3533873"/>
                  </a:cubicBezTo>
                  <a:close/>
                  <a:moveTo>
                    <a:pt x="2597693" y="1808596"/>
                  </a:moveTo>
                  <a:cubicBezTo>
                    <a:pt x="3032784" y="1808596"/>
                    <a:pt x="3386706" y="2162518"/>
                    <a:pt x="3386706" y="2597609"/>
                  </a:cubicBezTo>
                  <a:cubicBezTo>
                    <a:pt x="3386706" y="3032700"/>
                    <a:pt x="3032784" y="3386622"/>
                    <a:pt x="2597693" y="3386622"/>
                  </a:cubicBezTo>
                  <a:cubicBezTo>
                    <a:pt x="2162601" y="3386622"/>
                    <a:pt x="1808680" y="3032700"/>
                    <a:pt x="1808680" y="2597609"/>
                  </a:cubicBezTo>
                  <a:cubicBezTo>
                    <a:pt x="1808680" y="2162518"/>
                    <a:pt x="2162601" y="1808596"/>
                    <a:pt x="2597693" y="1808596"/>
                  </a:cubicBezTo>
                  <a:close/>
                  <a:moveTo>
                    <a:pt x="2292179" y="2394318"/>
                  </a:moveTo>
                  <a:cubicBezTo>
                    <a:pt x="2292179" y="2263282"/>
                    <a:pt x="2390414" y="2152907"/>
                    <a:pt x="2522833" y="2122105"/>
                  </a:cubicBezTo>
                  <a:lnTo>
                    <a:pt x="2521412" y="2061294"/>
                  </a:lnTo>
                  <a:cubicBezTo>
                    <a:pt x="2520462" y="2020655"/>
                    <a:pt x="2552606" y="1986894"/>
                    <a:pt x="2593245" y="1985905"/>
                  </a:cubicBezTo>
                  <a:cubicBezTo>
                    <a:pt x="2634011" y="1984827"/>
                    <a:pt x="2667644" y="2017089"/>
                    <a:pt x="2668644" y="2057738"/>
                  </a:cubicBezTo>
                  <a:lnTo>
                    <a:pt x="2670250" y="2123907"/>
                  </a:lnTo>
                  <a:cubicBezTo>
                    <a:pt x="2742622" y="2142238"/>
                    <a:pt x="2826779" y="2184140"/>
                    <a:pt x="2865086" y="2242433"/>
                  </a:cubicBezTo>
                  <a:cubicBezTo>
                    <a:pt x="2887433" y="2276449"/>
                    <a:pt x="2877979" y="2322035"/>
                    <a:pt x="2844003" y="2344382"/>
                  </a:cubicBezTo>
                  <a:cubicBezTo>
                    <a:pt x="2809977" y="2366730"/>
                    <a:pt x="2764401" y="2357276"/>
                    <a:pt x="2742053" y="2323289"/>
                  </a:cubicBezTo>
                  <a:cubicBezTo>
                    <a:pt x="2724791" y="2297003"/>
                    <a:pt x="2641172" y="2260764"/>
                    <a:pt x="2597810" y="2260764"/>
                  </a:cubicBezTo>
                  <a:cubicBezTo>
                    <a:pt x="2510547" y="2260764"/>
                    <a:pt x="2439488" y="2320654"/>
                    <a:pt x="2439488" y="2394240"/>
                  </a:cubicBezTo>
                  <a:cubicBezTo>
                    <a:pt x="2439488" y="2467836"/>
                    <a:pt x="2510518" y="2527726"/>
                    <a:pt x="2597810" y="2527726"/>
                  </a:cubicBezTo>
                  <a:cubicBezTo>
                    <a:pt x="2766272" y="2527726"/>
                    <a:pt x="2903324" y="2653669"/>
                    <a:pt x="2903324" y="2808434"/>
                  </a:cubicBezTo>
                  <a:cubicBezTo>
                    <a:pt x="2903324" y="2939432"/>
                    <a:pt x="2805128" y="3049767"/>
                    <a:pt x="2672827" y="3080579"/>
                  </a:cubicBezTo>
                  <a:lnTo>
                    <a:pt x="2674120" y="3133768"/>
                  </a:lnTo>
                  <a:cubicBezTo>
                    <a:pt x="2675080" y="3174416"/>
                    <a:pt x="2642975" y="3208167"/>
                    <a:pt x="2602287" y="3209166"/>
                  </a:cubicBezTo>
                  <a:lnTo>
                    <a:pt x="2600456" y="3209166"/>
                  </a:lnTo>
                  <a:cubicBezTo>
                    <a:pt x="2560610" y="3209166"/>
                    <a:pt x="2527859" y="3177394"/>
                    <a:pt x="2526898" y="3137334"/>
                  </a:cubicBezTo>
                  <a:lnTo>
                    <a:pt x="2525595" y="3081872"/>
                  </a:lnTo>
                  <a:cubicBezTo>
                    <a:pt x="2450050" y="3065766"/>
                    <a:pt x="2400564" y="3024667"/>
                    <a:pt x="2353224" y="2980031"/>
                  </a:cubicBezTo>
                  <a:cubicBezTo>
                    <a:pt x="2323686" y="2952138"/>
                    <a:pt x="2322305" y="2905563"/>
                    <a:pt x="2350207" y="2875975"/>
                  </a:cubicBezTo>
                  <a:cubicBezTo>
                    <a:pt x="2378099" y="2846437"/>
                    <a:pt x="2424714" y="2845056"/>
                    <a:pt x="2454262" y="2872958"/>
                  </a:cubicBezTo>
                  <a:cubicBezTo>
                    <a:pt x="2508215" y="2923815"/>
                    <a:pt x="2537999" y="2941881"/>
                    <a:pt x="2597771" y="2941881"/>
                  </a:cubicBezTo>
                  <a:cubicBezTo>
                    <a:pt x="2685024" y="2941881"/>
                    <a:pt x="2756093" y="2881991"/>
                    <a:pt x="2756093" y="2808395"/>
                  </a:cubicBezTo>
                  <a:cubicBezTo>
                    <a:pt x="2756093" y="2734799"/>
                    <a:pt x="2685064" y="2674909"/>
                    <a:pt x="2597771" y="2674909"/>
                  </a:cubicBezTo>
                  <a:cubicBezTo>
                    <a:pt x="2429231" y="2675026"/>
                    <a:pt x="2292188" y="2549074"/>
                    <a:pt x="2292188" y="2394309"/>
                  </a:cubicBezTo>
                  <a:close/>
                </a:path>
              </a:pathLst>
            </a:custGeom>
            <a:solidFill>
              <a:schemeClr val="bg1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126" name="Freeform: Shape 1125">
              <a:extLst>
                <a:ext uri="{FF2B5EF4-FFF2-40B4-BE49-F238E27FC236}">
                  <a16:creationId xmlns:a16="http://schemas.microsoft.com/office/drawing/2014/main" id="{2EF11FC0-FE6B-4035-A9DD-EC2B3EC445A5}"/>
                </a:ext>
              </a:extLst>
            </p:cNvPr>
            <p:cNvSpPr/>
            <p:nvPr/>
          </p:nvSpPr>
          <p:spPr>
            <a:xfrm>
              <a:off x="4208771" y="5574026"/>
              <a:ext cx="358728" cy="358726"/>
            </a:xfrm>
            <a:custGeom>
              <a:avLst/>
              <a:gdLst>
                <a:gd name="connsiteX0" fmla="*/ 5091379 w 5212080"/>
                <a:gd name="connsiteY0" fmla="*/ 2485339 h 5212080"/>
                <a:gd name="connsiteX1" fmla="*/ 4773168 w 5212080"/>
                <a:gd name="connsiteY1" fmla="*/ 2485339 h 5212080"/>
                <a:gd name="connsiteX2" fmla="*/ 2726741 w 5212080"/>
                <a:gd name="connsiteY2" fmla="*/ 438912 h 5212080"/>
                <a:gd name="connsiteX3" fmla="*/ 2726741 w 5212080"/>
                <a:gd name="connsiteY3" fmla="*/ 120701 h 5212080"/>
                <a:gd name="connsiteX4" fmla="*/ 2606040 w 5212080"/>
                <a:gd name="connsiteY4" fmla="*/ 0 h 5212080"/>
                <a:gd name="connsiteX5" fmla="*/ 2485339 w 5212080"/>
                <a:gd name="connsiteY5" fmla="*/ 120701 h 5212080"/>
                <a:gd name="connsiteX6" fmla="*/ 2485339 w 5212080"/>
                <a:gd name="connsiteY6" fmla="*/ 438912 h 5212080"/>
                <a:gd name="connsiteX7" fmla="*/ 438912 w 5212080"/>
                <a:gd name="connsiteY7" fmla="*/ 2485339 h 5212080"/>
                <a:gd name="connsiteX8" fmla="*/ 120701 w 5212080"/>
                <a:gd name="connsiteY8" fmla="*/ 2485339 h 5212080"/>
                <a:gd name="connsiteX9" fmla="*/ 0 w 5212080"/>
                <a:gd name="connsiteY9" fmla="*/ 2606040 h 5212080"/>
                <a:gd name="connsiteX10" fmla="*/ 120701 w 5212080"/>
                <a:gd name="connsiteY10" fmla="*/ 2726741 h 5212080"/>
                <a:gd name="connsiteX11" fmla="*/ 438912 w 5212080"/>
                <a:gd name="connsiteY11" fmla="*/ 2726741 h 5212080"/>
                <a:gd name="connsiteX12" fmla="*/ 2485339 w 5212080"/>
                <a:gd name="connsiteY12" fmla="*/ 4773168 h 5212080"/>
                <a:gd name="connsiteX13" fmla="*/ 2485339 w 5212080"/>
                <a:gd name="connsiteY13" fmla="*/ 5091379 h 5212080"/>
                <a:gd name="connsiteX14" fmla="*/ 2606040 w 5212080"/>
                <a:gd name="connsiteY14" fmla="*/ 5212080 h 5212080"/>
                <a:gd name="connsiteX15" fmla="*/ 2726741 w 5212080"/>
                <a:gd name="connsiteY15" fmla="*/ 5091379 h 5212080"/>
                <a:gd name="connsiteX16" fmla="*/ 2726741 w 5212080"/>
                <a:gd name="connsiteY16" fmla="*/ 4773168 h 5212080"/>
                <a:gd name="connsiteX17" fmla="*/ 4773168 w 5212080"/>
                <a:gd name="connsiteY17" fmla="*/ 2726741 h 5212080"/>
                <a:gd name="connsiteX18" fmla="*/ 5091379 w 5212080"/>
                <a:gd name="connsiteY18" fmla="*/ 2726741 h 5212080"/>
                <a:gd name="connsiteX19" fmla="*/ 5212080 w 5212080"/>
                <a:gd name="connsiteY19" fmla="*/ 2606040 h 5212080"/>
                <a:gd name="connsiteX20" fmla="*/ 5091379 w 5212080"/>
                <a:gd name="connsiteY20" fmla="*/ 2485339 h 5212080"/>
                <a:gd name="connsiteX21" fmla="*/ 4531757 w 5212080"/>
                <a:gd name="connsiteY21" fmla="*/ 2485339 h 5212080"/>
                <a:gd name="connsiteX22" fmla="*/ 4016025 w 5212080"/>
                <a:gd name="connsiteY22" fmla="*/ 2485339 h 5212080"/>
                <a:gd name="connsiteX23" fmla="*/ 2732208 w 5212080"/>
                <a:gd name="connsiteY23" fmla="*/ 1201522 h 5212080"/>
                <a:gd name="connsiteX24" fmla="*/ 2732208 w 5212080"/>
                <a:gd name="connsiteY24" fmla="*/ 685790 h 5212080"/>
                <a:gd name="connsiteX25" fmla="*/ 4531747 w 5212080"/>
                <a:gd name="connsiteY25" fmla="*/ 2485329 h 5212080"/>
                <a:gd name="connsiteX26" fmla="*/ 2606030 w 5212080"/>
                <a:gd name="connsiteY26" fmla="*/ 2962646 h 5212080"/>
                <a:gd name="connsiteX27" fmla="*/ 2249434 w 5212080"/>
                <a:gd name="connsiteY27" fmla="*/ 2606050 h 5212080"/>
                <a:gd name="connsiteX28" fmla="*/ 2606030 w 5212080"/>
                <a:gd name="connsiteY28" fmla="*/ 2249453 h 5212080"/>
                <a:gd name="connsiteX29" fmla="*/ 2962627 w 5212080"/>
                <a:gd name="connsiteY29" fmla="*/ 2606050 h 5212080"/>
                <a:gd name="connsiteX30" fmla="*/ 2606030 w 5212080"/>
                <a:gd name="connsiteY30" fmla="*/ 2962646 h 5212080"/>
                <a:gd name="connsiteX31" fmla="*/ 2485329 w 5212080"/>
                <a:gd name="connsiteY31" fmla="*/ 2018985 h 5212080"/>
                <a:gd name="connsiteX32" fmla="*/ 2018966 w 5212080"/>
                <a:gd name="connsiteY32" fmla="*/ 2485349 h 5212080"/>
                <a:gd name="connsiteX33" fmla="*/ 1442923 w 5212080"/>
                <a:gd name="connsiteY33" fmla="*/ 2485349 h 5212080"/>
                <a:gd name="connsiteX34" fmla="*/ 2485339 w 5212080"/>
                <a:gd name="connsiteY34" fmla="*/ 1442933 h 5212080"/>
                <a:gd name="connsiteX35" fmla="*/ 2018966 w 5212080"/>
                <a:gd name="connsiteY35" fmla="*/ 2726751 h 5212080"/>
                <a:gd name="connsiteX36" fmla="*/ 2485329 w 5212080"/>
                <a:gd name="connsiteY36" fmla="*/ 3193114 h 5212080"/>
                <a:gd name="connsiteX37" fmla="*/ 2485329 w 5212080"/>
                <a:gd name="connsiteY37" fmla="*/ 3774663 h 5212080"/>
                <a:gd name="connsiteX38" fmla="*/ 1442914 w 5212080"/>
                <a:gd name="connsiteY38" fmla="*/ 2732247 h 5212080"/>
                <a:gd name="connsiteX39" fmla="*/ 2018956 w 5212080"/>
                <a:gd name="connsiteY39" fmla="*/ 2732208 h 5212080"/>
                <a:gd name="connsiteX40" fmla="*/ 2726731 w 5212080"/>
                <a:gd name="connsiteY40" fmla="*/ 3193114 h 5212080"/>
                <a:gd name="connsiteX41" fmla="*/ 3193095 w 5212080"/>
                <a:gd name="connsiteY41" fmla="*/ 2726751 h 5212080"/>
                <a:gd name="connsiteX42" fmla="*/ 3774643 w 5212080"/>
                <a:gd name="connsiteY42" fmla="*/ 2726751 h 5212080"/>
                <a:gd name="connsiteX43" fmla="*/ 2732227 w 5212080"/>
                <a:gd name="connsiteY43" fmla="*/ 3769167 h 5212080"/>
                <a:gd name="connsiteX44" fmla="*/ 2732188 w 5212080"/>
                <a:gd name="connsiteY44" fmla="*/ 3193124 h 5212080"/>
                <a:gd name="connsiteX45" fmla="*/ 3193095 w 5212080"/>
                <a:gd name="connsiteY45" fmla="*/ 2485349 h 5212080"/>
                <a:gd name="connsiteX46" fmla="*/ 2726731 w 5212080"/>
                <a:gd name="connsiteY46" fmla="*/ 2018985 h 5212080"/>
                <a:gd name="connsiteX47" fmla="*/ 2726731 w 5212080"/>
                <a:gd name="connsiteY47" fmla="*/ 1442943 h 5212080"/>
                <a:gd name="connsiteX48" fmla="*/ 3769147 w 5212080"/>
                <a:gd name="connsiteY48" fmla="*/ 2485359 h 5212080"/>
                <a:gd name="connsiteX49" fmla="*/ 2485329 w 5212080"/>
                <a:gd name="connsiteY49" fmla="*/ 680323 h 5212080"/>
                <a:gd name="connsiteX50" fmla="*/ 2485329 w 5212080"/>
                <a:gd name="connsiteY50" fmla="*/ 1196055 h 5212080"/>
                <a:gd name="connsiteX51" fmla="*/ 1201512 w 5212080"/>
                <a:gd name="connsiteY51" fmla="*/ 2479873 h 5212080"/>
                <a:gd name="connsiteX52" fmla="*/ 685780 w 5212080"/>
                <a:gd name="connsiteY52" fmla="*/ 2479873 h 5212080"/>
                <a:gd name="connsiteX53" fmla="*/ 2485320 w 5212080"/>
                <a:gd name="connsiteY53" fmla="*/ 680333 h 5212080"/>
                <a:gd name="connsiteX54" fmla="*/ 680304 w 5212080"/>
                <a:gd name="connsiteY54" fmla="*/ 2726751 h 5212080"/>
                <a:gd name="connsiteX55" fmla="*/ 1196035 w 5212080"/>
                <a:gd name="connsiteY55" fmla="*/ 2726751 h 5212080"/>
                <a:gd name="connsiteX56" fmla="*/ 2479853 w 5212080"/>
                <a:gd name="connsiteY56" fmla="*/ 4010568 h 5212080"/>
                <a:gd name="connsiteX57" fmla="*/ 2479853 w 5212080"/>
                <a:gd name="connsiteY57" fmla="*/ 4526300 h 5212080"/>
                <a:gd name="connsiteX58" fmla="*/ 680314 w 5212080"/>
                <a:gd name="connsiteY58" fmla="*/ 2726760 h 5212080"/>
                <a:gd name="connsiteX59" fmla="*/ 2726731 w 5212080"/>
                <a:gd name="connsiteY59" fmla="*/ 4531776 h 5212080"/>
                <a:gd name="connsiteX60" fmla="*/ 2726731 w 5212080"/>
                <a:gd name="connsiteY60" fmla="*/ 4016045 h 5212080"/>
                <a:gd name="connsiteX61" fmla="*/ 4010549 w 5212080"/>
                <a:gd name="connsiteY61" fmla="*/ 2732227 h 5212080"/>
                <a:gd name="connsiteX62" fmla="*/ 4526280 w 5212080"/>
                <a:gd name="connsiteY62" fmla="*/ 2732227 h 5212080"/>
                <a:gd name="connsiteX63" fmla="*/ 2726741 w 5212080"/>
                <a:gd name="connsiteY63" fmla="*/ 4531767 h 521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</a:cxnLst>
              <a:rect l="l" t="t" r="r" b="b"/>
              <a:pathLst>
                <a:path w="5212080" h="5212080">
                  <a:moveTo>
                    <a:pt x="5091379" y="2485339"/>
                  </a:moveTo>
                  <a:lnTo>
                    <a:pt x="4773168" y="2485339"/>
                  </a:lnTo>
                  <a:cubicBezTo>
                    <a:pt x="4712818" y="1382573"/>
                    <a:pt x="3829507" y="499262"/>
                    <a:pt x="2726741" y="438912"/>
                  </a:cubicBezTo>
                  <a:lnTo>
                    <a:pt x="2726741" y="120701"/>
                  </a:lnTo>
                  <a:cubicBezTo>
                    <a:pt x="2726741" y="54876"/>
                    <a:pt x="2671857" y="0"/>
                    <a:pt x="2606040" y="0"/>
                  </a:cubicBezTo>
                  <a:cubicBezTo>
                    <a:pt x="2540223" y="0"/>
                    <a:pt x="2485339" y="54880"/>
                    <a:pt x="2485339" y="120701"/>
                  </a:cubicBezTo>
                  <a:lnTo>
                    <a:pt x="2485339" y="438912"/>
                  </a:lnTo>
                  <a:cubicBezTo>
                    <a:pt x="1382573" y="499264"/>
                    <a:pt x="499262" y="1382573"/>
                    <a:pt x="438912" y="2485339"/>
                  </a:cubicBezTo>
                  <a:lnTo>
                    <a:pt x="120701" y="2485339"/>
                  </a:lnTo>
                  <a:cubicBezTo>
                    <a:pt x="54876" y="2485339"/>
                    <a:pt x="0" y="2540223"/>
                    <a:pt x="0" y="2606040"/>
                  </a:cubicBezTo>
                  <a:cubicBezTo>
                    <a:pt x="0" y="2671857"/>
                    <a:pt x="54880" y="2726741"/>
                    <a:pt x="120701" y="2726741"/>
                  </a:cubicBezTo>
                  <a:lnTo>
                    <a:pt x="438912" y="2726741"/>
                  </a:lnTo>
                  <a:cubicBezTo>
                    <a:pt x="499262" y="3829507"/>
                    <a:pt x="1382573" y="4712818"/>
                    <a:pt x="2485339" y="4773168"/>
                  </a:cubicBezTo>
                  <a:lnTo>
                    <a:pt x="2485339" y="5091379"/>
                  </a:lnTo>
                  <a:cubicBezTo>
                    <a:pt x="2485339" y="5157206"/>
                    <a:pt x="2540223" y="5212080"/>
                    <a:pt x="2606040" y="5212080"/>
                  </a:cubicBezTo>
                  <a:cubicBezTo>
                    <a:pt x="2671857" y="5212080"/>
                    <a:pt x="2726741" y="5157197"/>
                    <a:pt x="2726741" y="5091379"/>
                  </a:cubicBezTo>
                  <a:lnTo>
                    <a:pt x="2726741" y="4773168"/>
                  </a:lnTo>
                  <a:cubicBezTo>
                    <a:pt x="3829507" y="4712818"/>
                    <a:pt x="4712818" y="3829507"/>
                    <a:pt x="4773168" y="2726741"/>
                  </a:cubicBezTo>
                  <a:lnTo>
                    <a:pt x="5091379" y="2726741"/>
                  </a:lnTo>
                  <a:cubicBezTo>
                    <a:pt x="5157206" y="2726741"/>
                    <a:pt x="5212080" y="2671857"/>
                    <a:pt x="5212080" y="2606040"/>
                  </a:cubicBezTo>
                  <a:cubicBezTo>
                    <a:pt x="5212080" y="2540223"/>
                    <a:pt x="5157197" y="2485339"/>
                    <a:pt x="5091379" y="2485339"/>
                  </a:cubicBezTo>
                  <a:close/>
                  <a:moveTo>
                    <a:pt x="4531757" y="2485339"/>
                  </a:moveTo>
                  <a:lnTo>
                    <a:pt x="4016025" y="2485339"/>
                  </a:lnTo>
                  <a:cubicBezTo>
                    <a:pt x="3955675" y="1805016"/>
                    <a:pt x="3412502" y="1256386"/>
                    <a:pt x="2732208" y="1201522"/>
                  </a:cubicBezTo>
                  <a:lnTo>
                    <a:pt x="2732208" y="685790"/>
                  </a:lnTo>
                  <a:cubicBezTo>
                    <a:pt x="3692328" y="740670"/>
                    <a:pt x="4471397" y="1519733"/>
                    <a:pt x="4531747" y="2485329"/>
                  </a:cubicBezTo>
                  <a:close/>
                  <a:moveTo>
                    <a:pt x="2606030" y="2962646"/>
                  </a:moveTo>
                  <a:cubicBezTo>
                    <a:pt x="2408520" y="2962646"/>
                    <a:pt x="2249434" y="2803560"/>
                    <a:pt x="2249434" y="2606050"/>
                  </a:cubicBezTo>
                  <a:cubicBezTo>
                    <a:pt x="2249434" y="2408540"/>
                    <a:pt x="2408520" y="2249453"/>
                    <a:pt x="2606030" y="2249453"/>
                  </a:cubicBezTo>
                  <a:cubicBezTo>
                    <a:pt x="2803541" y="2249453"/>
                    <a:pt x="2962627" y="2408540"/>
                    <a:pt x="2962627" y="2606050"/>
                  </a:cubicBezTo>
                  <a:cubicBezTo>
                    <a:pt x="2962627" y="2803560"/>
                    <a:pt x="2803541" y="2962646"/>
                    <a:pt x="2606030" y="2962646"/>
                  </a:cubicBezTo>
                  <a:close/>
                  <a:moveTo>
                    <a:pt x="2485329" y="2018985"/>
                  </a:moveTo>
                  <a:cubicBezTo>
                    <a:pt x="2254901" y="2068353"/>
                    <a:pt x="2068373" y="2249414"/>
                    <a:pt x="2018966" y="2485349"/>
                  </a:cubicBezTo>
                  <a:lnTo>
                    <a:pt x="1442923" y="2485349"/>
                  </a:lnTo>
                  <a:cubicBezTo>
                    <a:pt x="1497807" y="1936709"/>
                    <a:pt x="1936680" y="1497797"/>
                    <a:pt x="2485339" y="1442933"/>
                  </a:cubicBezTo>
                  <a:close/>
                  <a:moveTo>
                    <a:pt x="2018966" y="2726751"/>
                  </a:moveTo>
                  <a:cubicBezTo>
                    <a:pt x="2068334" y="2957180"/>
                    <a:pt x="2249395" y="3143707"/>
                    <a:pt x="2485329" y="3193114"/>
                  </a:cubicBezTo>
                  <a:lnTo>
                    <a:pt x="2485329" y="3774663"/>
                  </a:lnTo>
                  <a:cubicBezTo>
                    <a:pt x="1936689" y="3719779"/>
                    <a:pt x="1497777" y="3280907"/>
                    <a:pt x="1442914" y="2732247"/>
                  </a:cubicBezTo>
                  <a:lnTo>
                    <a:pt x="2018956" y="2732208"/>
                  </a:lnTo>
                  <a:close/>
                  <a:moveTo>
                    <a:pt x="2726731" y="3193114"/>
                  </a:moveTo>
                  <a:cubicBezTo>
                    <a:pt x="2957160" y="3143747"/>
                    <a:pt x="3143688" y="2962686"/>
                    <a:pt x="3193095" y="2726751"/>
                  </a:cubicBezTo>
                  <a:lnTo>
                    <a:pt x="3774643" y="2726751"/>
                  </a:lnTo>
                  <a:cubicBezTo>
                    <a:pt x="3719760" y="3275391"/>
                    <a:pt x="3280887" y="3714303"/>
                    <a:pt x="2732227" y="3769167"/>
                  </a:cubicBezTo>
                  <a:lnTo>
                    <a:pt x="2732188" y="3193124"/>
                  </a:lnTo>
                  <a:close/>
                  <a:moveTo>
                    <a:pt x="3193095" y="2485349"/>
                  </a:moveTo>
                  <a:cubicBezTo>
                    <a:pt x="3143727" y="2254920"/>
                    <a:pt x="2962666" y="2068392"/>
                    <a:pt x="2726731" y="2018985"/>
                  </a:cubicBezTo>
                  <a:lnTo>
                    <a:pt x="2726731" y="1442943"/>
                  </a:lnTo>
                  <a:cubicBezTo>
                    <a:pt x="3275371" y="1497826"/>
                    <a:pt x="3714283" y="1936699"/>
                    <a:pt x="3769147" y="2485359"/>
                  </a:cubicBezTo>
                  <a:close/>
                  <a:moveTo>
                    <a:pt x="2485329" y="680323"/>
                  </a:moveTo>
                  <a:lnTo>
                    <a:pt x="2485329" y="1196055"/>
                  </a:lnTo>
                  <a:cubicBezTo>
                    <a:pt x="1805006" y="1256405"/>
                    <a:pt x="1256376" y="1799579"/>
                    <a:pt x="1201512" y="2479873"/>
                  </a:cubicBezTo>
                  <a:lnTo>
                    <a:pt x="685780" y="2479873"/>
                  </a:lnTo>
                  <a:cubicBezTo>
                    <a:pt x="740664" y="1519752"/>
                    <a:pt x="1519723" y="740684"/>
                    <a:pt x="2485320" y="680333"/>
                  </a:cubicBezTo>
                  <a:close/>
                  <a:moveTo>
                    <a:pt x="680304" y="2726751"/>
                  </a:moveTo>
                  <a:lnTo>
                    <a:pt x="1196035" y="2726751"/>
                  </a:lnTo>
                  <a:cubicBezTo>
                    <a:pt x="1256386" y="3407074"/>
                    <a:pt x="1799559" y="3955704"/>
                    <a:pt x="2479853" y="4010568"/>
                  </a:cubicBezTo>
                  <a:lnTo>
                    <a:pt x="2479853" y="4526300"/>
                  </a:lnTo>
                  <a:cubicBezTo>
                    <a:pt x="1519733" y="4471416"/>
                    <a:pt x="740664" y="3692357"/>
                    <a:pt x="680314" y="2726760"/>
                  </a:cubicBezTo>
                  <a:close/>
                  <a:moveTo>
                    <a:pt x="2726731" y="4531776"/>
                  </a:moveTo>
                  <a:lnTo>
                    <a:pt x="2726731" y="4016045"/>
                  </a:lnTo>
                  <a:cubicBezTo>
                    <a:pt x="3407055" y="3955695"/>
                    <a:pt x="3955685" y="3412521"/>
                    <a:pt x="4010549" y="2732227"/>
                  </a:cubicBezTo>
                  <a:lnTo>
                    <a:pt x="4526280" y="2732227"/>
                  </a:lnTo>
                  <a:cubicBezTo>
                    <a:pt x="4471397" y="3692347"/>
                    <a:pt x="3692338" y="4471416"/>
                    <a:pt x="2726741" y="4531767"/>
                  </a:cubicBezTo>
                  <a:close/>
                </a:path>
              </a:pathLst>
            </a:custGeom>
            <a:solidFill>
              <a:srgbClr val="1F4CB9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1215" name="Group 1214">
              <a:extLst>
                <a:ext uri="{FF2B5EF4-FFF2-40B4-BE49-F238E27FC236}">
                  <a16:creationId xmlns:a16="http://schemas.microsoft.com/office/drawing/2014/main" id="{24DF3866-5F11-0843-C356-F40D8FD3C08F}"/>
                </a:ext>
              </a:extLst>
            </p:cNvPr>
            <p:cNvGrpSpPr/>
            <p:nvPr/>
          </p:nvGrpSpPr>
          <p:grpSpPr>
            <a:xfrm>
              <a:off x="4211249" y="6407532"/>
              <a:ext cx="353770" cy="358727"/>
              <a:chOff x="-10155303" y="1726151"/>
              <a:chExt cx="5294975" cy="5369176"/>
            </a:xfrm>
            <a:solidFill>
              <a:schemeClr val="bg1"/>
            </a:solidFill>
          </p:grpSpPr>
          <p:sp>
            <p:nvSpPr>
              <p:cNvPr id="1169" name="Freeform: Shape 1168">
                <a:extLst>
                  <a:ext uri="{FF2B5EF4-FFF2-40B4-BE49-F238E27FC236}">
                    <a16:creationId xmlns:a16="http://schemas.microsoft.com/office/drawing/2014/main" id="{BAD735EF-43A7-4E67-E554-AFFA221E4B39}"/>
                  </a:ext>
                </a:extLst>
              </p:cNvPr>
              <p:cNvSpPr/>
              <p:nvPr/>
            </p:nvSpPr>
            <p:spPr>
              <a:xfrm>
                <a:off x="-8278462" y="3305773"/>
                <a:ext cx="1507848" cy="2176121"/>
              </a:xfrm>
              <a:custGeom>
                <a:avLst/>
                <a:gdLst>
                  <a:gd name="connsiteX0" fmla="*/ 907313 w 1507848"/>
                  <a:gd name="connsiteY0" fmla="*/ 210492 h 2176121"/>
                  <a:gd name="connsiteX1" fmla="*/ 907313 w 1507848"/>
                  <a:gd name="connsiteY1" fmla="*/ 126256 h 2176121"/>
                  <a:gd name="connsiteX2" fmla="*/ 781058 w 1507848"/>
                  <a:gd name="connsiteY2" fmla="*/ 0 h 2176121"/>
                  <a:gd name="connsiteX3" fmla="*/ 654802 w 1507848"/>
                  <a:gd name="connsiteY3" fmla="*/ 126256 h 2176121"/>
                  <a:gd name="connsiteX4" fmla="*/ 654802 w 1507848"/>
                  <a:gd name="connsiteY4" fmla="*/ 210492 h 2176121"/>
                  <a:gd name="connsiteX5" fmla="*/ 573789 w 1507848"/>
                  <a:gd name="connsiteY5" fmla="*/ 210492 h 2176121"/>
                  <a:gd name="connsiteX6" fmla="*/ 313 w 1507848"/>
                  <a:gd name="connsiteY6" fmla="*/ 700349 h 2176121"/>
                  <a:gd name="connsiteX7" fmla="*/ 313 w 1507848"/>
                  <a:gd name="connsiteY7" fmla="*/ 719600 h 2176121"/>
                  <a:gd name="connsiteX8" fmla="*/ 321552 w 1507848"/>
                  <a:gd name="connsiteY8" fmla="*/ 1115277 h 2176121"/>
                  <a:gd name="connsiteX9" fmla="*/ 354686 w 1507848"/>
                  <a:gd name="connsiteY9" fmla="*/ 1126799 h 2176121"/>
                  <a:gd name="connsiteX10" fmla="*/ 374172 w 1507848"/>
                  <a:gd name="connsiteY10" fmla="*/ 1130659 h 2176121"/>
                  <a:gd name="connsiteX11" fmla="*/ 374701 w 1507848"/>
                  <a:gd name="connsiteY11" fmla="*/ 1130777 h 2176121"/>
                  <a:gd name="connsiteX12" fmla="*/ 654802 w 1507848"/>
                  <a:gd name="connsiteY12" fmla="*/ 1186493 h 2176121"/>
                  <a:gd name="connsiteX13" fmla="*/ 654802 w 1507848"/>
                  <a:gd name="connsiteY13" fmla="*/ 1696248 h 2176121"/>
                  <a:gd name="connsiteX14" fmla="*/ 573789 w 1507848"/>
                  <a:gd name="connsiteY14" fmla="*/ 1696248 h 2176121"/>
                  <a:gd name="connsiteX15" fmla="*/ 252511 w 1507848"/>
                  <a:gd name="connsiteY15" fmla="*/ 1458403 h 2176121"/>
                  <a:gd name="connsiteX16" fmla="*/ 126256 w 1507848"/>
                  <a:gd name="connsiteY16" fmla="*/ 1332147 h 2176121"/>
                  <a:gd name="connsiteX17" fmla="*/ 0 w 1507848"/>
                  <a:gd name="connsiteY17" fmla="*/ 1458403 h 2176121"/>
                  <a:gd name="connsiteX18" fmla="*/ 573779 w 1507848"/>
                  <a:gd name="connsiteY18" fmla="*/ 1948760 h 2176121"/>
                  <a:gd name="connsiteX19" fmla="*/ 654792 w 1507848"/>
                  <a:gd name="connsiteY19" fmla="*/ 1948760 h 2176121"/>
                  <a:gd name="connsiteX20" fmla="*/ 654792 w 1507848"/>
                  <a:gd name="connsiteY20" fmla="*/ 2049866 h 2176121"/>
                  <a:gd name="connsiteX21" fmla="*/ 781048 w 1507848"/>
                  <a:gd name="connsiteY21" fmla="*/ 2176122 h 2176121"/>
                  <a:gd name="connsiteX22" fmla="*/ 907303 w 1507848"/>
                  <a:gd name="connsiteY22" fmla="*/ 2049866 h 2176121"/>
                  <a:gd name="connsiteX23" fmla="*/ 907303 w 1507848"/>
                  <a:gd name="connsiteY23" fmla="*/ 1948760 h 2176121"/>
                  <a:gd name="connsiteX24" fmla="*/ 933599 w 1507848"/>
                  <a:gd name="connsiteY24" fmla="*/ 1948760 h 2176121"/>
                  <a:gd name="connsiteX25" fmla="*/ 1507192 w 1507848"/>
                  <a:gd name="connsiteY25" fmla="*/ 1458403 h 2176121"/>
                  <a:gd name="connsiteX26" fmla="*/ 1507192 w 1507848"/>
                  <a:gd name="connsiteY26" fmla="*/ 1438887 h 2176121"/>
                  <a:gd name="connsiteX27" fmla="*/ 1177959 w 1507848"/>
                  <a:gd name="connsiteY27" fmla="*/ 1038125 h 2176121"/>
                  <a:gd name="connsiteX28" fmla="*/ 1164263 w 1507848"/>
                  <a:gd name="connsiteY28" fmla="*/ 1033383 h 2176121"/>
                  <a:gd name="connsiteX29" fmla="*/ 1157101 w 1507848"/>
                  <a:gd name="connsiteY29" fmla="*/ 1030895 h 2176121"/>
                  <a:gd name="connsiteX30" fmla="*/ 1145051 w 1507848"/>
                  <a:gd name="connsiteY30" fmla="*/ 1026682 h 2176121"/>
                  <a:gd name="connsiteX31" fmla="*/ 1140152 w 1507848"/>
                  <a:gd name="connsiteY31" fmla="*/ 1025722 h 2176121"/>
                  <a:gd name="connsiteX32" fmla="*/ 1138506 w 1507848"/>
                  <a:gd name="connsiteY32" fmla="*/ 1025193 h 2176121"/>
                  <a:gd name="connsiteX33" fmla="*/ 907352 w 1507848"/>
                  <a:gd name="connsiteY33" fmla="*/ 979264 h 2176121"/>
                  <a:gd name="connsiteX34" fmla="*/ 907352 w 1507848"/>
                  <a:gd name="connsiteY34" fmla="*/ 463003 h 2176121"/>
                  <a:gd name="connsiteX35" fmla="*/ 933638 w 1507848"/>
                  <a:gd name="connsiteY35" fmla="*/ 463003 h 2176121"/>
                  <a:gd name="connsiteX36" fmla="*/ 1255337 w 1507848"/>
                  <a:gd name="connsiteY36" fmla="*/ 700427 h 2176121"/>
                  <a:gd name="connsiteX37" fmla="*/ 1381593 w 1507848"/>
                  <a:gd name="connsiteY37" fmla="*/ 826683 h 2176121"/>
                  <a:gd name="connsiteX38" fmla="*/ 1507849 w 1507848"/>
                  <a:gd name="connsiteY38" fmla="*/ 700427 h 2176121"/>
                  <a:gd name="connsiteX39" fmla="*/ 933717 w 1507848"/>
                  <a:gd name="connsiteY39" fmla="*/ 210570 h 2176121"/>
                  <a:gd name="connsiteX40" fmla="*/ 907313 w 1507848"/>
                  <a:gd name="connsiteY40" fmla="*/ 210531 h 2176121"/>
                  <a:gd name="connsiteX41" fmla="*/ 1254691 w 1507848"/>
                  <a:gd name="connsiteY41" fmla="*/ 1458452 h 2176121"/>
                  <a:gd name="connsiteX42" fmla="*/ 933609 w 1507848"/>
                  <a:gd name="connsiteY42" fmla="*/ 1696297 h 2176121"/>
                  <a:gd name="connsiteX43" fmla="*/ 907313 w 1507848"/>
                  <a:gd name="connsiteY43" fmla="*/ 1696297 h 2176121"/>
                  <a:gd name="connsiteX44" fmla="*/ 907313 w 1507848"/>
                  <a:gd name="connsiteY44" fmla="*/ 1236752 h 2176121"/>
                  <a:gd name="connsiteX45" fmla="*/ 1077921 w 1507848"/>
                  <a:gd name="connsiteY45" fmla="*/ 1270699 h 2176121"/>
                  <a:gd name="connsiteX46" fmla="*/ 1254691 w 1507848"/>
                  <a:gd name="connsiteY46" fmla="*/ 1438857 h 2176121"/>
                  <a:gd name="connsiteX47" fmla="*/ 654880 w 1507848"/>
                  <a:gd name="connsiteY47" fmla="*/ 929024 h 2176121"/>
                  <a:gd name="connsiteX48" fmla="*/ 421973 w 1507848"/>
                  <a:gd name="connsiteY48" fmla="*/ 882713 h 2176121"/>
                  <a:gd name="connsiteX49" fmla="*/ 252854 w 1507848"/>
                  <a:gd name="connsiteY49" fmla="*/ 719493 h 2176121"/>
                  <a:gd name="connsiteX50" fmla="*/ 252854 w 1507848"/>
                  <a:gd name="connsiteY50" fmla="*/ 700251 h 2176121"/>
                  <a:gd name="connsiteX51" fmla="*/ 573828 w 1507848"/>
                  <a:gd name="connsiteY51" fmla="*/ 462827 h 2176121"/>
                  <a:gd name="connsiteX52" fmla="*/ 654841 w 1507848"/>
                  <a:gd name="connsiteY52" fmla="*/ 462827 h 21761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1507848" h="2176121">
                    <a:moveTo>
                      <a:pt x="907313" y="210492"/>
                    </a:moveTo>
                    <a:lnTo>
                      <a:pt x="907313" y="126256"/>
                    </a:lnTo>
                    <a:cubicBezTo>
                      <a:pt x="907313" y="56569"/>
                      <a:pt x="850754" y="0"/>
                      <a:pt x="781058" y="0"/>
                    </a:cubicBezTo>
                    <a:cubicBezTo>
                      <a:pt x="711361" y="0"/>
                      <a:pt x="654802" y="56569"/>
                      <a:pt x="654802" y="126256"/>
                    </a:cubicBezTo>
                    <a:lnTo>
                      <a:pt x="654802" y="210492"/>
                    </a:lnTo>
                    <a:lnTo>
                      <a:pt x="573789" y="210492"/>
                    </a:lnTo>
                    <a:cubicBezTo>
                      <a:pt x="257567" y="210492"/>
                      <a:pt x="313" y="430242"/>
                      <a:pt x="313" y="700349"/>
                    </a:cubicBezTo>
                    <a:lnTo>
                      <a:pt x="313" y="719600"/>
                    </a:lnTo>
                    <a:cubicBezTo>
                      <a:pt x="313" y="872485"/>
                      <a:pt x="108425" y="1005628"/>
                      <a:pt x="321552" y="1115277"/>
                    </a:cubicBezTo>
                    <a:cubicBezTo>
                      <a:pt x="332035" y="1120636"/>
                      <a:pt x="343203" y="1124497"/>
                      <a:pt x="354686" y="1126799"/>
                    </a:cubicBezTo>
                    <a:lnTo>
                      <a:pt x="374172" y="1130659"/>
                    </a:lnTo>
                    <a:cubicBezTo>
                      <a:pt x="374398" y="1130659"/>
                      <a:pt x="374515" y="1130777"/>
                      <a:pt x="374701" y="1130777"/>
                    </a:cubicBezTo>
                    <a:lnTo>
                      <a:pt x="654802" y="1186493"/>
                    </a:lnTo>
                    <a:lnTo>
                      <a:pt x="654802" y="1696248"/>
                    </a:lnTo>
                    <a:lnTo>
                      <a:pt x="573789" y="1696248"/>
                    </a:lnTo>
                    <a:cubicBezTo>
                      <a:pt x="399625" y="1696248"/>
                      <a:pt x="252511" y="1587294"/>
                      <a:pt x="252511" y="1458403"/>
                    </a:cubicBezTo>
                    <a:cubicBezTo>
                      <a:pt x="252511" y="1388716"/>
                      <a:pt x="195943" y="1332147"/>
                      <a:pt x="126256" y="1332147"/>
                    </a:cubicBezTo>
                    <a:cubicBezTo>
                      <a:pt x="56559" y="1332147"/>
                      <a:pt x="0" y="1388716"/>
                      <a:pt x="0" y="1458403"/>
                    </a:cubicBezTo>
                    <a:cubicBezTo>
                      <a:pt x="0" y="1728745"/>
                      <a:pt x="257371" y="1948760"/>
                      <a:pt x="573779" y="1948760"/>
                    </a:cubicBezTo>
                    <a:lnTo>
                      <a:pt x="654792" y="1948760"/>
                    </a:lnTo>
                    <a:lnTo>
                      <a:pt x="654792" y="2049866"/>
                    </a:lnTo>
                    <a:cubicBezTo>
                      <a:pt x="654792" y="2119563"/>
                      <a:pt x="711361" y="2176122"/>
                      <a:pt x="781048" y="2176122"/>
                    </a:cubicBezTo>
                    <a:cubicBezTo>
                      <a:pt x="850745" y="2176122"/>
                      <a:pt x="907303" y="2119563"/>
                      <a:pt x="907303" y="2049866"/>
                    </a:cubicBezTo>
                    <a:lnTo>
                      <a:pt x="907303" y="1948760"/>
                    </a:lnTo>
                    <a:lnTo>
                      <a:pt x="933599" y="1948760"/>
                    </a:lnTo>
                    <a:cubicBezTo>
                      <a:pt x="1249861" y="1948760"/>
                      <a:pt x="1507192" y="1728824"/>
                      <a:pt x="1507192" y="1458403"/>
                    </a:cubicBezTo>
                    <a:lnTo>
                      <a:pt x="1507192" y="1438887"/>
                    </a:lnTo>
                    <a:cubicBezTo>
                      <a:pt x="1507192" y="1333029"/>
                      <a:pt x="1450095" y="1177538"/>
                      <a:pt x="1177959" y="1038125"/>
                    </a:cubicBezTo>
                    <a:cubicBezTo>
                      <a:pt x="1173668" y="1035940"/>
                      <a:pt x="1168848" y="1034990"/>
                      <a:pt x="1164263" y="1033383"/>
                    </a:cubicBezTo>
                    <a:cubicBezTo>
                      <a:pt x="1161961" y="1032345"/>
                      <a:pt x="1159511" y="1031737"/>
                      <a:pt x="1157101" y="1030895"/>
                    </a:cubicBezTo>
                    <a:cubicBezTo>
                      <a:pt x="1153045" y="1029631"/>
                      <a:pt x="1149215" y="1027446"/>
                      <a:pt x="1145051" y="1026682"/>
                    </a:cubicBezTo>
                    <a:lnTo>
                      <a:pt x="1140152" y="1025722"/>
                    </a:lnTo>
                    <a:cubicBezTo>
                      <a:pt x="1139613" y="1025614"/>
                      <a:pt x="1139075" y="1025310"/>
                      <a:pt x="1138506" y="1025193"/>
                    </a:cubicBezTo>
                    <a:lnTo>
                      <a:pt x="907352" y="979264"/>
                    </a:lnTo>
                    <a:lnTo>
                      <a:pt x="907352" y="463003"/>
                    </a:lnTo>
                    <a:lnTo>
                      <a:pt x="933638" y="463003"/>
                    </a:lnTo>
                    <a:cubicBezTo>
                      <a:pt x="1108076" y="463003"/>
                      <a:pt x="1255337" y="571693"/>
                      <a:pt x="1255337" y="700427"/>
                    </a:cubicBezTo>
                    <a:cubicBezTo>
                      <a:pt x="1255337" y="770124"/>
                      <a:pt x="1311906" y="826683"/>
                      <a:pt x="1381593" y="826683"/>
                    </a:cubicBezTo>
                    <a:cubicBezTo>
                      <a:pt x="1451290" y="826683"/>
                      <a:pt x="1507849" y="770124"/>
                      <a:pt x="1507849" y="700427"/>
                    </a:cubicBezTo>
                    <a:cubicBezTo>
                      <a:pt x="1507849" y="430320"/>
                      <a:pt x="1250370" y="210570"/>
                      <a:pt x="933717" y="210570"/>
                    </a:cubicBezTo>
                    <a:lnTo>
                      <a:pt x="907313" y="210531"/>
                    </a:lnTo>
                    <a:close/>
                    <a:moveTo>
                      <a:pt x="1254691" y="1458452"/>
                    </a:moveTo>
                    <a:cubicBezTo>
                      <a:pt x="1254691" y="1587421"/>
                      <a:pt x="1107655" y="1696297"/>
                      <a:pt x="933609" y="1696297"/>
                    </a:cubicBezTo>
                    <a:lnTo>
                      <a:pt x="907313" y="1696297"/>
                    </a:lnTo>
                    <a:lnTo>
                      <a:pt x="907313" y="1236752"/>
                    </a:lnTo>
                    <a:lnTo>
                      <a:pt x="1077921" y="1270699"/>
                    </a:lnTo>
                    <a:cubicBezTo>
                      <a:pt x="1199885" y="1336066"/>
                      <a:pt x="1254691" y="1401658"/>
                      <a:pt x="1254691" y="1438857"/>
                    </a:cubicBezTo>
                    <a:close/>
                    <a:moveTo>
                      <a:pt x="654880" y="929024"/>
                    </a:moveTo>
                    <a:lnTo>
                      <a:pt x="421973" y="882713"/>
                    </a:lnTo>
                    <a:cubicBezTo>
                      <a:pt x="315693" y="825694"/>
                      <a:pt x="252854" y="765226"/>
                      <a:pt x="252854" y="719493"/>
                    </a:cubicBezTo>
                    <a:lnTo>
                      <a:pt x="252854" y="700251"/>
                    </a:lnTo>
                    <a:cubicBezTo>
                      <a:pt x="252854" y="571585"/>
                      <a:pt x="399851" y="462827"/>
                      <a:pt x="573828" y="462827"/>
                    </a:cubicBezTo>
                    <a:lnTo>
                      <a:pt x="654841" y="462827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0" name="Freeform: Shape 1169">
                <a:extLst>
                  <a:ext uri="{FF2B5EF4-FFF2-40B4-BE49-F238E27FC236}">
                    <a16:creationId xmlns:a16="http://schemas.microsoft.com/office/drawing/2014/main" id="{7A6B9EA5-FA71-F35A-911F-18D23138045E}"/>
                  </a:ext>
                </a:extLst>
              </p:cNvPr>
              <p:cNvSpPr/>
              <p:nvPr/>
            </p:nvSpPr>
            <p:spPr>
              <a:xfrm>
                <a:off x="-5951768" y="3839189"/>
                <a:ext cx="1091440" cy="1184572"/>
              </a:xfrm>
              <a:custGeom>
                <a:avLst/>
                <a:gdLst>
                  <a:gd name="connsiteX0" fmla="*/ 184118 w 1091440"/>
                  <a:gd name="connsiteY0" fmla="*/ 370910 h 1184572"/>
                  <a:gd name="connsiteX1" fmla="*/ 259742 w 1091440"/>
                  <a:gd name="connsiteY1" fmla="*/ 594520 h 1184572"/>
                  <a:gd name="connsiteX2" fmla="*/ 0 w 1091440"/>
                  <a:gd name="connsiteY2" fmla="*/ 1058317 h 1184572"/>
                  <a:gd name="connsiteX3" fmla="*/ 126256 w 1091440"/>
                  <a:gd name="connsiteY3" fmla="*/ 1184573 h 1184572"/>
                  <a:gd name="connsiteX4" fmla="*/ 252512 w 1091440"/>
                  <a:gd name="connsiteY4" fmla="*/ 1058317 h 1184572"/>
                  <a:gd name="connsiteX5" fmla="*/ 545779 w 1091440"/>
                  <a:gd name="connsiteY5" fmla="*/ 765167 h 1184572"/>
                  <a:gd name="connsiteX6" fmla="*/ 838929 w 1091440"/>
                  <a:gd name="connsiteY6" fmla="*/ 1058317 h 1184572"/>
                  <a:gd name="connsiteX7" fmla="*/ 965185 w 1091440"/>
                  <a:gd name="connsiteY7" fmla="*/ 1184573 h 1184572"/>
                  <a:gd name="connsiteX8" fmla="*/ 1091441 w 1091440"/>
                  <a:gd name="connsiteY8" fmla="*/ 1058317 h 1184572"/>
                  <a:gd name="connsiteX9" fmla="*/ 844445 w 1091440"/>
                  <a:gd name="connsiteY9" fmla="*/ 602289 h 1184572"/>
                  <a:gd name="connsiteX10" fmla="*/ 925957 w 1091440"/>
                  <a:gd name="connsiteY10" fmla="*/ 370910 h 1184572"/>
                  <a:gd name="connsiteX11" fmla="*/ 555008 w 1091440"/>
                  <a:gd name="connsiteY11" fmla="*/ 0 h 1184572"/>
                  <a:gd name="connsiteX12" fmla="*/ 184137 w 1091440"/>
                  <a:gd name="connsiteY12" fmla="*/ 370910 h 1184572"/>
                  <a:gd name="connsiteX13" fmla="*/ 554920 w 1091440"/>
                  <a:gd name="connsiteY13" fmla="*/ 252463 h 1184572"/>
                  <a:gd name="connsiteX14" fmla="*/ 673446 w 1091440"/>
                  <a:gd name="connsiteY14" fmla="*/ 370871 h 1184572"/>
                  <a:gd name="connsiteX15" fmla="*/ 554920 w 1091440"/>
                  <a:gd name="connsiteY15" fmla="*/ 489465 h 1184572"/>
                  <a:gd name="connsiteX16" fmla="*/ 436629 w 1091440"/>
                  <a:gd name="connsiteY16" fmla="*/ 370871 h 1184572"/>
                  <a:gd name="connsiteX17" fmla="*/ 554920 w 1091440"/>
                  <a:gd name="connsiteY17" fmla="*/ 252463 h 118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91440" h="1184572">
                    <a:moveTo>
                      <a:pt x="184118" y="370910"/>
                    </a:moveTo>
                    <a:cubicBezTo>
                      <a:pt x="184118" y="454950"/>
                      <a:pt x="212510" y="532299"/>
                      <a:pt x="259742" y="594520"/>
                    </a:cubicBezTo>
                    <a:cubicBezTo>
                      <a:pt x="104212" y="690806"/>
                      <a:pt x="0" y="862374"/>
                      <a:pt x="0" y="1058317"/>
                    </a:cubicBezTo>
                    <a:cubicBezTo>
                      <a:pt x="0" y="1128004"/>
                      <a:pt x="56559" y="1184573"/>
                      <a:pt x="126256" y="1184573"/>
                    </a:cubicBezTo>
                    <a:cubicBezTo>
                      <a:pt x="195943" y="1184573"/>
                      <a:pt x="252512" y="1128014"/>
                      <a:pt x="252512" y="1058317"/>
                    </a:cubicBezTo>
                    <a:cubicBezTo>
                      <a:pt x="252512" y="896664"/>
                      <a:pt x="384048" y="765167"/>
                      <a:pt x="545779" y="765167"/>
                    </a:cubicBezTo>
                    <a:cubicBezTo>
                      <a:pt x="707432" y="765167"/>
                      <a:pt x="838929" y="896703"/>
                      <a:pt x="838929" y="1058317"/>
                    </a:cubicBezTo>
                    <a:cubicBezTo>
                      <a:pt x="838929" y="1128004"/>
                      <a:pt x="895488" y="1184573"/>
                      <a:pt x="965185" y="1184573"/>
                    </a:cubicBezTo>
                    <a:cubicBezTo>
                      <a:pt x="1034872" y="1184573"/>
                      <a:pt x="1091441" y="1128014"/>
                      <a:pt x="1091441" y="1058317"/>
                    </a:cubicBezTo>
                    <a:cubicBezTo>
                      <a:pt x="1091441" y="867733"/>
                      <a:pt x="992970" y="699878"/>
                      <a:pt x="844445" y="602289"/>
                    </a:cubicBezTo>
                    <a:cubicBezTo>
                      <a:pt x="895341" y="538794"/>
                      <a:pt x="925957" y="458389"/>
                      <a:pt x="925957" y="370910"/>
                    </a:cubicBezTo>
                    <a:cubicBezTo>
                      <a:pt x="925957" y="166395"/>
                      <a:pt x="759562" y="0"/>
                      <a:pt x="555008" y="0"/>
                    </a:cubicBezTo>
                    <a:cubicBezTo>
                      <a:pt x="350493" y="39"/>
                      <a:pt x="184137" y="166434"/>
                      <a:pt x="184137" y="370910"/>
                    </a:cubicBezTo>
                    <a:close/>
                    <a:moveTo>
                      <a:pt x="554920" y="252463"/>
                    </a:moveTo>
                    <a:cubicBezTo>
                      <a:pt x="620326" y="252463"/>
                      <a:pt x="673446" y="305583"/>
                      <a:pt x="673446" y="370871"/>
                    </a:cubicBezTo>
                    <a:cubicBezTo>
                      <a:pt x="673446" y="436237"/>
                      <a:pt x="620326" y="489465"/>
                      <a:pt x="554920" y="489465"/>
                    </a:cubicBezTo>
                    <a:cubicBezTo>
                      <a:pt x="489671" y="489465"/>
                      <a:pt x="436629" y="436228"/>
                      <a:pt x="436629" y="370871"/>
                    </a:cubicBezTo>
                    <a:cubicBezTo>
                      <a:pt x="436629" y="305622"/>
                      <a:pt x="489593" y="252463"/>
                      <a:pt x="554920" y="252463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1" name="Freeform: Shape 1170">
                <a:extLst>
                  <a:ext uri="{FF2B5EF4-FFF2-40B4-BE49-F238E27FC236}">
                    <a16:creationId xmlns:a16="http://schemas.microsoft.com/office/drawing/2014/main" id="{DF0D74E5-70C9-227F-0AD7-3691607F7A4C}"/>
                  </a:ext>
                </a:extLst>
              </p:cNvPr>
              <p:cNvSpPr/>
              <p:nvPr/>
            </p:nvSpPr>
            <p:spPr>
              <a:xfrm>
                <a:off x="-8011265" y="1726151"/>
                <a:ext cx="1091303" cy="1184650"/>
              </a:xfrm>
              <a:custGeom>
                <a:avLst/>
                <a:gdLst>
                  <a:gd name="connsiteX0" fmla="*/ 126158 w 1091303"/>
                  <a:gd name="connsiteY0" fmla="*/ 1184651 h 1184650"/>
                  <a:gd name="connsiteX1" fmla="*/ 252414 w 1091303"/>
                  <a:gd name="connsiteY1" fmla="*/ 1058395 h 1184650"/>
                  <a:gd name="connsiteX2" fmla="*/ 545603 w 1091303"/>
                  <a:gd name="connsiteY2" fmla="*/ 765206 h 1184650"/>
                  <a:gd name="connsiteX3" fmla="*/ 838792 w 1091303"/>
                  <a:gd name="connsiteY3" fmla="*/ 1058395 h 1184650"/>
                  <a:gd name="connsiteX4" fmla="*/ 965048 w 1091303"/>
                  <a:gd name="connsiteY4" fmla="*/ 1184651 h 1184650"/>
                  <a:gd name="connsiteX5" fmla="*/ 1091304 w 1091303"/>
                  <a:gd name="connsiteY5" fmla="*/ 1058395 h 1184650"/>
                  <a:gd name="connsiteX6" fmla="*/ 844347 w 1091303"/>
                  <a:gd name="connsiteY6" fmla="*/ 602368 h 1184650"/>
                  <a:gd name="connsiteX7" fmla="*/ 925860 w 1091303"/>
                  <a:gd name="connsiteY7" fmla="*/ 371028 h 1184650"/>
                  <a:gd name="connsiteX8" fmla="*/ 554832 w 1091303"/>
                  <a:gd name="connsiteY8" fmla="*/ 0 h 1184650"/>
                  <a:gd name="connsiteX9" fmla="*/ 183804 w 1091303"/>
                  <a:gd name="connsiteY9" fmla="*/ 371028 h 1184650"/>
                  <a:gd name="connsiteX10" fmla="*/ 259546 w 1091303"/>
                  <a:gd name="connsiteY10" fmla="*/ 594638 h 1184650"/>
                  <a:gd name="connsiteX11" fmla="*/ 0 w 1091303"/>
                  <a:gd name="connsiteY11" fmla="*/ 1058317 h 1184650"/>
                  <a:gd name="connsiteX12" fmla="*/ 126177 w 1091303"/>
                  <a:gd name="connsiteY12" fmla="*/ 1184651 h 1184650"/>
                  <a:gd name="connsiteX13" fmla="*/ 554744 w 1091303"/>
                  <a:gd name="connsiteY13" fmla="*/ 252502 h 1184650"/>
                  <a:gd name="connsiteX14" fmla="*/ 673338 w 1091303"/>
                  <a:gd name="connsiteY14" fmla="*/ 371028 h 1184650"/>
                  <a:gd name="connsiteX15" fmla="*/ 554744 w 1091303"/>
                  <a:gd name="connsiteY15" fmla="*/ 489553 h 1184650"/>
                  <a:gd name="connsiteX16" fmla="*/ 436218 w 1091303"/>
                  <a:gd name="connsiteY16" fmla="*/ 371028 h 1184650"/>
                  <a:gd name="connsiteX17" fmla="*/ 554744 w 1091303"/>
                  <a:gd name="connsiteY17" fmla="*/ 252502 h 1184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91303" h="1184650">
                    <a:moveTo>
                      <a:pt x="126158" y="1184651"/>
                    </a:moveTo>
                    <a:cubicBezTo>
                      <a:pt x="195845" y="1184651"/>
                      <a:pt x="252414" y="1128092"/>
                      <a:pt x="252414" y="1058395"/>
                    </a:cubicBezTo>
                    <a:cubicBezTo>
                      <a:pt x="252414" y="896742"/>
                      <a:pt x="383950" y="765206"/>
                      <a:pt x="545603" y="765206"/>
                    </a:cubicBezTo>
                    <a:cubicBezTo>
                      <a:pt x="707256" y="765206"/>
                      <a:pt x="838792" y="896742"/>
                      <a:pt x="838792" y="1058395"/>
                    </a:cubicBezTo>
                    <a:cubicBezTo>
                      <a:pt x="838792" y="1128082"/>
                      <a:pt x="895351" y="1184651"/>
                      <a:pt x="965048" y="1184651"/>
                    </a:cubicBezTo>
                    <a:cubicBezTo>
                      <a:pt x="1034735" y="1184651"/>
                      <a:pt x="1091304" y="1128092"/>
                      <a:pt x="1091304" y="1058395"/>
                    </a:cubicBezTo>
                    <a:cubicBezTo>
                      <a:pt x="1091304" y="867811"/>
                      <a:pt x="992833" y="699957"/>
                      <a:pt x="844347" y="602368"/>
                    </a:cubicBezTo>
                    <a:cubicBezTo>
                      <a:pt x="895244" y="538877"/>
                      <a:pt x="925860" y="458506"/>
                      <a:pt x="925860" y="371028"/>
                    </a:cubicBezTo>
                    <a:cubicBezTo>
                      <a:pt x="925860" y="166473"/>
                      <a:pt x="759347" y="0"/>
                      <a:pt x="554832" y="0"/>
                    </a:cubicBezTo>
                    <a:cubicBezTo>
                      <a:pt x="350199" y="0"/>
                      <a:pt x="183804" y="166473"/>
                      <a:pt x="183804" y="371028"/>
                    </a:cubicBezTo>
                    <a:cubicBezTo>
                      <a:pt x="183804" y="455068"/>
                      <a:pt x="212285" y="532377"/>
                      <a:pt x="259546" y="594638"/>
                    </a:cubicBezTo>
                    <a:cubicBezTo>
                      <a:pt x="104134" y="690925"/>
                      <a:pt x="0" y="862452"/>
                      <a:pt x="0" y="1058317"/>
                    </a:cubicBezTo>
                    <a:cubicBezTo>
                      <a:pt x="-78" y="1128122"/>
                      <a:pt x="56481" y="1184651"/>
                      <a:pt x="126177" y="1184651"/>
                    </a:cubicBezTo>
                    <a:close/>
                    <a:moveTo>
                      <a:pt x="554744" y="252502"/>
                    </a:moveTo>
                    <a:cubicBezTo>
                      <a:pt x="620110" y="252502"/>
                      <a:pt x="673338" y="305659"/>
                      <a:pt x="673338" y="371028"/>
                    </a:cubicBezTo>
                    <a:cubicBezTo>
                      <a:pt x="673338" y="436396"/>
                      <a:pt x="620101" y="489553"/>
                      <a:pt x="554744" y="489553"/>
                    </a:cubicBezTo>
                    <a:cubicBezTo>
                      <a:pt x="489417" y="489592"/>
                      <a:pt x="436218" y="436396"/>
                      <a:pt x="436218" y="371028"/>
                    </a:cubicBezTo>
                    <a:cubicBezTo>
                      <a:pt x="436218" y="305700"/>
                      <a:pt x="489417" y="252502"/>
                      <a:pt x="554744" y="252502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2" name="Freeform: Shape 1171">
                <a:extLst>
                  <a:ext uri="{FF2B5EF4-FFF2-40B4-BE49-F238E27FC236}">
                    <a16:creationId xmlns:a16="http://schemas.microsoft.com/office/drawing/2014/main" id="{ED0BAD0B-891E-DA9E-57FB-C0CAC7F45795}"/>
                  </a:ext>
                </a:extLst>
              </p:cNvPr>
              <p:cNvSpPr/>
              <p:nvPr/>
            </p:nvSpPr>
            <p:spPr>
              <a:xfrm>
                <a:off x="-8011392" y="5910755"/>
                <a:ext cx="1091401" cy="1184572"/>
              </a:xfrm>
              <a:custGeom>
                <a:avLst/>
                <a:gdLst>
                  <a:gd name="connsiteX0" fmla="*/ 0 w 1091401"/>
                  <a:gd name="connsiteY0" fmla="*/ 1058317 h 1184572"/>
                  <a:gd name="connsiteX1" fmla="*/ 126256 w 1091401"/>
                  <a:gd name="connsiteY1" fmla="*/ 1184573 h 1184572"/>
                  <a:gd name="connsiteX2" fmla="*/ 252512 w 1091401"/>
                  <a:gd name="connsiteY2" fmla="*/ 1058317 h 1184572"/>
                  <a:gd name="connsiteX3" fmla="*/ 545701 w 1091401"/>
                  <a:gd name="connsiteY3" fmla="*/ 765128 h 1184572"/>
                  <a:gd name="connsiteX4" fmla="*/ 838890 w 1091401"/>
                  <a:gd name="connsiteY4" fmla="*/ 1058317 h 1184572"/>
                  <a:gd name="connsiteX5" fmla="*/ 965146 w 1091401"/>
                  <a:gd name="connsiteY5" fmla="*/ 1184573 h 1184572"/>
                  <a:gd name="connsiteX6" fmla="*/ 1091402 w 1091401"/>
                  <a:gd name="connsiteY6" fmla="*/ 1058317 h 1184572"/>
                  <a:gd name="connsiteX7" fmla="*/ 844406 w 1091401"/>
                  <a:gd name="connsiteY7" fmla="*/ 602211 h 1184572"/>
                  <a:gd name="connsiteX8" fmla="*/ 925957 w 1091401"/>
                  <a:gd name="connsiteY8" fmla="*/ 370949 h 1184572"/>
                  <a:gd name="connsiteX9" fmla="*/ 554930 w 1091401"/>
                  <a:gd name="connsiteY9" fmla="*/ 0 h 1184572"/>
                  <a:gd name="connsiteX10" fmla="*/ 183902 w 1091401"/>
                  <a:gd name="connsiteY10" fmla="*/ 370949 h 1184572"/>
                  <a:gd name="connsiteX11" fmla="*/ 259752 w 1091401"/>
                  <a:gd name="connsiteY11" fmla="*/ 594520 h 1184572"/>
                  <a:gd name="connsiteX12" fmla="*/ 10 w 1091401"/>
                  <a:gd name="connsiteY12" fmla="*/ 1058317 h 1184572"/>
                  <a:gd name="connsiteX13" fmla="*/ 554842 w 1091401"/>
                  <a:gd name="connsiteY13" fmla="*/ 252384 h 1184572"/>
                  <a:gd name="connsiteX14" fmla="*/ 673436 w 1091401"/>
                  <a:gd name="connsiteY14" fmla="*/ 370910 h 1184572"/>
                  <a:gd name="connsiteX15" fmla="*/ 554842 w 1091401"/>
                  <a:gd name="connsiteY15" fmla="*/ 489201 h 1184572"/>
                  <a:gd name="connsiteX16" fmla="*/ 436247 w 1091401"/>
                  <a:gd name="connsiteY16" fmla="*/ 370910 h 1184572"/>
                  <a:gd name="connsiteX17" fmla="*/ 554842 w 1091401"/>
                  <a:gd name="connsiteY17" fmla="*/ 252384 h 118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91401" h="1184572">
                    <a:moveTo>
                      <a:pt x="0" y="1058317"/>
                    </a:moveTo>
                    <a:cubicBezTo>
                      <a:pt x="0" y="1128004"/>
                      <a:pt x="56559" y="1184573"/>
                      <a:pt x="126256" y="1184573"/>
                    </a:cubicBezTo>
                    <a:cubicBezTo>
                      <a:pt x="195943" y="1184573"/>
                      <a:pt x="252512" y="1128014"/>
                      <a:pt x="252512" y="1058317"/>
                    </a:cubicBezTo>
                    <a:cubicBezTo>
                      <a:pt x="252512" y="896625"/>
                      <a:pt x="384048" y="765128"/>
                      <a:pt x="545701" y="765128"/>
                    </a:cubicBezTo>
                    <a:cubicBezTo>
                      <a:pt x="707354" y="765128"/>
                      <a:pt x="838890" y="896664"/>
                      <a:pt x="838890" y="1058317"/>
                    </a:cubicBezTo>
                    <a:cubicBezTo>
                      <a:pt x="838890" y="1128004"/>
                      <a:pt x="895449" y="1184573"/>
                      <a:pt x="965146" y="1184573"/>
                    </a:cubicBezTo>
                    <a:cubicBezTo>
                      <a:pt x="1034833" y="1184573"/>
                      <a:pt x="1091402" y="1128014"/>
                      <a:pt x="1091402" y="1058317"/>
                    </a:cubicBezTo>
                    <a:cubicBezTo>
                      <a:pt x="1091402" y="867694"/>
                      <a:pt x="992931" y="699839"/>
                      <a:pt x="844406" y="602211"/>
                    </a:cubicBezTo>
                    <a:cubicBezTo>
                      <a:pt x="895341" y="538725"/>
                      <a:pt x="925957" y="458350"/>
                      <a:pt x="925957" y="370949"/>
                    </a:cubicBezTo>
                    <a:cubicBezTo>
                      <a:pt x="925957" y="166316"/>
                      <a:pt x="759445" y="0"/>
                      <a:pt x="554930" y="0"/>
                    </a:cubicBezTo>
                    <a:cubicBezTo>
                      <a:pt x="350297" y="0"/>
                      <a:pt x="183902" y="166395"/>
                      <a:pt x="183902" y="370949"/>
                    </a:cubicBezTo>
                    <a:cubicBezTo>
                      <a:pt x="183902" y="454989"/>
                      <a:pt x="212412" y="532338"/>
                      <a:pt x="259752" y="594520"/>
                    </a:cubicBezTo>
                    <a:cubicBezTo>
                      <a:pt x="104144" y="690846"/>
                      <a:pt x="10" y="862374"/>
                      <a:pt x="10" y="1058317"/>
                    </a:cubicBezTo>
                    <a:close/>
                    <a:moveTo>
                      <a:pt x="554842" y="252384"/>
                    </a:moveTo>
                    <a:cubicBezTo>
                      <a:pt x="620208" y="252384"/>
                      <a:pt x="673436" y="305544"/>
                      <a:pt x="673436" y="370910"/>
                    </a:cubicBezTo>
                    <a:cubicBezTo>
                      <a:pt x="673436" y="436081"/>
                      <a:pt x="620199" y="489201"/>
                      <a:pt x="554842" y="489201"/>
                    </a:cubicBezTo>
                    <a:cubicBezTo>
                      <a:pt x="489485" y="489201"/>
                      <a:pt x="436247" y="436081"/>
                      <a:pt x="436247" y="370910"/>
                    </a:cubicBezTo>
                    <a:cubicBezTo>
                      <a:pt x="436326" y="305583"/>
                      <a:pt x="489524" y="252384"/>
                      <a:pt x="554842" y="252384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3" name="Freeform: Shape 1172">
                <a:extLst>
                  <a:ext uri="{FF2B5EF4-FFF2-40B4-BE49-F238E27FC236}">
                    <a16:creationId xmlns:a16="http://schemas.microsoft.com/office/drawing/2014/main" id="{11DF86A6-B14F-08EE-FEF5-EAE32B309DA8}"/>
                  </a:ext>
                </a:extLst>
              </p:cNvPr>
              <p:cNvSpPr/>
              <p:nvPr/>
            </p:nvSpPr>
            <p:spPr>
              <a:xfrm>
                <a:off x="-10155303" y="3839179"/>
                <a:ext cx="1091492" cy="1184572"/>
              </a:xfrm>
              <a:custGeom>
                <a:avLst/>
                <a:gdLst>
                  <a:gd name="connsiteX0" fmla="*/ 126082 w 1091492"/>
                  <a:gd name="connsiteY0" fmla="*/ 1184573 h 1184572"/>
                  <a:gd name="connsiteX1" fmla="*/ 252338 w 1091492"/>
                  <a:gd name="connsiteY1" fmla="*/ 1058317 h 1184572"/>
                  <a:gd name="connsiteX2" fmla="*/ 545713 w 1091492"/>
                  <a:gd name="connsiteY2" fmla="*/ 765167 h 1184572"/>
                  <a:gd name="connsiteX3" fmla="*/ 838981 w 1091492"/>
                  <a:gd name="connsiteY3" fmla="*/ 1058317 h 1184572"/>
                  <a:gd name="connsiteX4" fmla="*/ 965236 w 1091492"/>
                  <a:gd name="connsiteY4" fmla="*/ 1184573 h 1184572"/>
                  <a:gd name="connsiteX5" fmla="*/ 1091492 w 1091492"/>
                  <a:gd name="connsiteY5" fmla="*/ 1058317 h 1184572"/>
                  <a:gd name="connsiteX6" fmla="*/ 844496 w 1091492"/>
                  <a:gd name="connsiteY6" fmla="*/ 602289 h 1184572"/>
                  <a:gd name="connsiteX7" fmla="*/ 926009 w 1091492"/>
                  <a:gd name="connsiteY7" fmla="*/ 370910 h 1184572"/>
                  <a:gd name="connsiteX8" fmla="*/ 555059 w 1091492"/>
                  <a:gd name="connsiteY8" fmla="*/ 0 h 1184572"/>
                  <a:gd name="connsiteX9" fmla="*/ 184113 w 1091492"/>
                  <a:gd name="connsiteY9" fmla="*/ 370910 h 1184572"/>
                  <a:gd name="connsiteX10" fmla="*/ 259852 w 1091492"/>
                  <a:gd name="connsiteY10" fmla="*/ 594520 h 1184572"/>
                  <a:gd name="connsiteX11" fmla="*/ 0 w 1091492"/>
                  <a:gd name="connsiteY11" fmla="*/ 1058317 h 1184572"/>
                  <a:gd name="connsiteX12" fmla="*/ 126099 w 1091492"/>
                  <a:gd name="connsiteY12" fmla="*/ 1184573 h 1184572"/>
                  <a:gd name="connsiteX13" fmla="*/ 554903 w 1091492"/>
                  <a:gd name="connsiteY13" fmla="*/ 252423 h 1184572"/>
                  <a:gd name="connsiteX14" fmla="*/ 673429 w 1091492"/>
                  <a:gd name="connsiteY14" fmla="*/ 370832 h 1184572"/>
                  <a:gd name="connsiteX15" fmla="*/ 554903 w 1091492"/>
                  <a:gd name="connsiteY15" fmla="*/ 489426 h 1184572"/>
                  <a:gd name="connsiteX16" fmla="*/ 436377 w 1091492"/>
                  <a:gd name="connsiteY16" fmla="*/ 370832 h 1184572"/>
                  <a:gd name="connsiteX17" fmla="*/ 554903 w 1091492"/>
                  <a:gd name="connsiteY17" fmla="*/ 252423 h 11845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091492" h="1184572">
                    <a:moveTo>
                      <a:pt x="126082" y="1184573"/>
                    </a:moveTo>
                    <a:cubicBezTo>
                      <a:pt x="195769" y="1184573"/>
                      <a:pt x="252338" y="1128014"/>
                      <a:pt x="252338" y="1058317"/>
                    </a:cubicBezTo>
                    <a:cubicBezTo>
                      <a:pt x="252338" y="896664"/>
                      <a:pt x="383952" y="765167"/>
                      <a:pt x="545713" y="765167"/>
                    </a:cubicBezTo>
                    <a:cubicBezTo>
                      <a:pt x="707474" y="765167"/>
                      <a:pt x="838981" y="896703"/>
                      <a:pt x="838981" y="1058317"/>
                    </a:cubicBezTo>
                    <a:cubicBezTo>
                      <a:pt x="838981" y="1128004"/>
                      <a:pt x="895539" y="1184573"/>
                      <a:pt x="965236" y="1184573"/>
                    </a:cubicBezTo>
                    <a:cubicBezTo>
                      <a:pt x="1034923" y="1184573"/>
                      <a:pt x="1091492" y="1128014"/>
                      <a:pt x="1091492" y="1058317"/>
                    </a:cubicBezTo>
                    <a:cubicBezTo>
                      <a:pt x="1091492" y="867733"/>
                      <a:pt x="993021" y="699879"/>
                      <a:pt x="844496" y="602289"/>
                    </a:cubicBezTo>
                    <a:cubicBezTo>
                      <a:pt x="895393" y="538794"/>
                      <a:pt x="926009" y="458389"/>
                      <a:pt x="926009" y="370910"/>
                    </a:cubicBezTo>
                    <a:cubicBezTo>
                      <a:pt x="926009" y="166395"/>
                      <a:pt x="759614" y="0"/>
                      <a:pt x="555059" y="0"/>
                    </a:cubicBezTo>
                    <a:cubicBezTo>
                      <a:pt x="350505" y="0"/>
                      <a:pt x="184113" y="166395"/>
                      <a:pt x="184113" y="370910"/>
                    </a:cubicBezTo>
                    <a:cubicBezTo>
                      <a:pt x="184113" y="454950"/>
                      <a:pt x="212591" y="532298"/>
                      <a:pt x="259852" y="594520"/>
                    </a:cubicBezTo>
                    <a:cubicBezTo>
                      <a:pt x="104242" y="690806"/>
                      <a:pt x="0" y="862374"/>
                      <a:pt x="0" y="1058317"/>
                    </a:cubicBezTo>
                    <a:cubicBezTo>
                      <a:pt x="-153" y="1128004"/>
                      <a:pt x="56334" y="1184573"/>
                      <a:pt x="126099" y="1184573"/>
                    </a:cubicBezTo>
                    <a:close/>
                    <a:moveTo>
                      <a:pt x="554903" y="252423"/>
                    </a:moveTo>
                    <a:cubicBezTo>
                      <a:pt x="620269" y="252423"/>
                      <a:pt x="673429" y="305543"/>
                      <a:pt x="673429" y="370832"/>
                    </a:cubicBezTo>
                    <a:cubicBezTo>
                      <a:pt x="673429" y="436198"/>
                      <a:pt x="620269" y="489426"/>
                      <a:pt x="554903" y="489426"/>
                    </a:cubicBezTo>
                    <a:cubicBezTo>
                      <a:pt x="489614" y="489426"/>
                      <a:pt x="436377" y="436188"/>
                      <a:pt x="436377" y="370832"/>
                    </a:cubicBezTo>
                    <a:cubicBezTo>
                      <a:pt x="436377" y="305583"/>
                      <a:pt x="489614" y="252423"/>
                      <a:pt x="554903" y="252423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4" name="Freeform: Shape 1173">
                <a:extLst>
                  <a:ext uri="{FF2B5EF4-FFF2-40B4-BE49-F238E27FC236}">
                    <a16:creationId xmlns:a16="http://schemas.microsoft.com/office/drawing/2014/main" id="{FA14FE7B-2688-F2E7-337C-C0B20799C6E5}"/>
                  </a:ext>
                </a:extLst>
              </p:cNvPr>
              <p:cNvSpPr/>
              <p:nvPr/>
            </p:nvSpPr>
            <p:spPr>
              <a:xfrm>
                <a:off x="-9604112" y="5149192"/>
                <a:ext cx="1491108" cy="1425201"/>
              </a:xfrm>
              <a:custGeom>
                <a:avLst/>
                <a:gdLst>
                  <a:gd name="connsiteX0" fmla="*/ 1407555 w 1491108"/>
                  <a:gd name="connsiteY0" fmla="*/ 1180126 h 1425201"/>
                  <a:gd name="connsiteX1" fmla="*/ 242478 w 1491108"/>
                  <a:gd name="connsiteY1" fmla="*/ 76968 h 1425201"/>
                  <a:gd name="connsiteX2" fmla="*/ 77034 w 1491108"/>
                  <a:gd name="connsiteY2" fmla="*/ 10034 h 1425201"/>
                  <a:gd name="connsiteX3" fmla="*/ 10061 w 1491108"/>
                  <a:gd name="connsiteY3" fmla="*/ 175478 h 1425201"/>
                  <a:gd name="connsiteX4" fmla="*/ 1322094 w 1491108"/>
                  <a:gd name="connsiteY4" fmla="*/ 1417658 h 1425201"/>
                  <a:gd name="connsiteX5" fmla="*/ 1364839 w 1491108"/>
                  <a:gd name="connsiteY5" fmla="*/ 1425202 h 1425201"/>
                  <a:gd name="connsiteX6" fmla="*/ 1483669 w 1491108"/>
                  <a:gd name="connsiteY6" fmla="*/ 1341691 h 1425201"/>
                  <a:gd name="connsiteX7" fmla="*/ 1407555 w 1491108"/>
                  <a:gd name="connsiteY7" fmla="*/ 1180117 h 14252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91108" h="1425201">
                    <a:moveTo>
                      <a:pt x="1407555" y="1180126"/>
                    </a:moveTo>
                    <a:cubicBezTo>
                      <a:pt x="884289" y="991649"/>
                      <a:pt x="459681" y="589584"/>
                      <a:pt x="242478" y="76968"/>
                    </a:cubicBezTo>
                    <a:cubicBezTo>
                      <a:pt x="215311" y="12748"/>
                      <a:pt x="141176" y="-17134"/>
                      <a:pt x="77034" y="10034"/>
                    </a:cubicBezTo>
                    <a:cubicBezTo>
                      <a:pt x="12814" y="37201"/>
                      <a:pt x="-17185" y="111336"/>
                      <a:pt x="10061" y="175478"/>
                    </a:cubicBezTo>
                    <a:cubicBezTo>
                      <a:pt x="254647" y="752706"/>
                      <a:pt x="732826" y="1205452"/>
                      <a:pt x="1322094" y="1417658"/>
                    </a:cubicBezTo>
                    <a:cubicBezTo>
                      <a:pt x="1336222" y="1422713"/>
                      <a:pt x="1350682" y="1425202"/>
                      <a:pt x="1364839" y="1425202"/>
                    </a:cubicBezTo>
                    <a:cubicBezTo>
                      <a:pt x="1416588" y="1425202"/>
                      <a:pt x="1465103" y="1393165"/>
                      <a:pt x="1483669" y="1341691"/>
                    </a:cubicBezTo>
                    <a:cubicBezTo>
                      <a:pt x="1507172" y="1276099"/>
                      <a:pt x="1473147" y="1203767"/>
                      <a:pt x="1407555" y="1180117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5" name="Freeform: Shape 1174">
                <a:extLst>
                  <a:ext uri="{FF2B5EF4-FFF2-40B4-BE49-F238E27FC236}">
                    <a16:creationId xmlns:a16="http://schemas.microsoft.com/office/drawing/2014/main" id="{A50EE06D-5007-0274-B2B4-FA680CCDF021}"/>
                  </a:ext>
                </a:extLst>
              </p:cNvPr>
              <p:cNvSpPr/>
              <p:nvPr/>
            </p:nvSpPr>
            <p:spPr>
              <a:xfrm>
                <a:off x="-6786765" y="5044836"/>
                <a:ext cx="1396538" cy="1475173"/>
              </a:xfrm>
              <a:custGeom>
                <a:avLst/>
                <a:gdLst>
                  <a:gd name="connsiteX0" fmla="*/ 1313323 w 1396538"/>
                  <a:gd name="connsiteY0" fmla="*/ 7620 h 1475173"/>
                  <a:gd name="connsiteX1" fmla="*/ 1151631 w 1396538"/>
                  <a:gd name="connsiteY1" fmla="*/ 83245 h 1475173"/>
                  <a:gd name="connsiteX2" fmla="*/ 75317 w 1396538"/>
                  <a:gd name="connsiteY2" fmla="*/ 1233429 h 1475173"/>
                  <a:gd name="connsiteX3" fmla="*/ 10754 w 1396538"/>
                  <a:gd name="connsiteY3" fmla="*/ 1399824 h 1475173"/>
                  <a:gd name="connsiteX4" fmla="*/ 126331 w 1396538"/>
                  <a:gd name="connsiteY4" fmla="*/ 1475174 h 1475173"/>
                  <a:gd name="connsiteX5" fmla="*/ 177227 w 1396538"/>
                  <a:gd name="connsiteY5" fmla="*/ 1464456 h 1475173"/>
                  <a:gd name="connsiteX6" fmla="*/ 1388938 w 1396538"/>
                  <a:gd name="connsiteY6" fmla="*/ 169273 h 1475173"/>
                  <a:gd name="connsiteX7" fmla="*/ 1313323 w 1396538"/>
                  <a:gd name="connsiteY7" fmla="*/ 7542 h 14751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96538" h="1475173">
                    <a:moveTo>
                      <a:pt x="1313323" y="7620"/>
                    </a:moveTo>
                    <a:cubicBezTo>
                      <a:pt x="1247731" y="-16186"/>
                      <a:pt x="1175399" y="17643"/>
                      <a:pt x="1151631" y="83245"/>
                    </a:cubicBezTo>
                    <a:cubicBezTo>
                      <a:pt x="966171" y="594459"/>
                      <a:pt x="573942" y="1013709"/>
                      <a:pt x="75317" y="1233429"/>
                    </a:cubicBezTo>
                    <a:cubicBezTo>
                      <a:pt x="11479" y="1261596"/>
                      <a:pt x="-17335" y="1336035"/>
                      <a:pt x="10754" y="1399824"/>
                    </a:cubicBezTo>
                    <a:cubicBezTo>
                      <a:pt x="31612" y="1447046"/>
                      <a:pt x="77805" y="1475174"/>
                      <a:pt x="126331" y="1475174"/>
                    </a:cubicBezTo>
                    <a:cubicBezTo>
                      <a:pt x="143329" y="1475174"/>
                      <a:pt x="160582" y="1471735"/>
                      <a:pt x="177227" y="1464456"/>
                    </a:cubicBezTo>
                    <a:cubicBezTo>
                      <a:pt x="738574" y="1216960"/>
                      <a:pt x="1180160" y="744905"/>
                      <a:pt x="1388938" y="169273"/>
                    </a:cubicBezTo>
                    <a:cubicBezTo>
                      <a:pt x="1412706" y="103681"/>
                      <a:pt x="1378876" y="31271"/>
                      <a:pt x="1313323" y="7542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6" name="Freeform: Shape 1175">
                <a:extLst>
                  <a:ext uri="{FF2B5EF4-FFF2-40B4-BE49-F238E27FC236}">
                    <a16:creationId xmlns:a16="http://schemas.microsoft.com/office/drawing/2014/main" id="{2F96E2FD-73C6-D1E5-655B-64BA05807E2C}"/>
                  </a:ext>
                </a:extLst>
              </p:cNvPr>
              <p:cNvSpPr/>
              <p:nvPr/>
            </p:nvSpPr>
            <p:spPr>
              <a:xfrm>
                <a:off x="-6856756" y="2341563"/>
                <a:ext cx="1341547" cy="1225029"/>
              </a:xfrm>
              <a:custGeom>
                <a:avLst/>
                <a:gdLst>
                  <a:gd name="connsiteX0" fmla="*/ 79707 w 1341547"/>
                  <a:gd name="connsiteY0" fmla="*/ 243591 h 1225029"/>
                  <a:gd name="connsiteX1" fmla="*/ 1104096 w 1341547"/>
                  <a:gd name="connsiteY1" fmla="*/ 1158478 h 1225029"/>
                  <a:gd name="connsiteX2" fmla="*/ 1215460 w 1341547"/>
                  <a:gd name="connsiteY2" fmla="*/ 1225030 h 1225029"/>
                  <a:gd name="connsiteX3" fmla="*/ 1275007 w 1341547"/>
                  <a:gd name="connsiteY3" fmla="*/ 1209952 h 1225029"/>
                  <a:gd name="connsiteX4" fmla="*/ 1326482 w 1341547"/>
                  <a:gd name="connsiteY4" fmla="*/ 1039041 h 1225029"/>
                  <a:gd name="connsiteX5" fmla="*/ 172868 w 1341547"/>
                  <a:gd name="connsiteY5" fmla="*/ 8968 h 1225029"/>
                  <a:gd name="connsiteX6" fmla="*/ 8962 w 1341547"/>
                  <a:gd name="connsiteY6" fmla="*/ 79576 h 1225029"/>
                  <a:gd name="connsiteX7" fmla="*/ 79687 w 1341547"/>
                  <a:gd name="connsiteY7" fmla="*/ 243561 h 12250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341547" h="1225029">
                    <a:moveTo>
                      <a:pt x="79707" y="243591"/>
                    </a:moveTo>
                    <a:cubicBezTo>
                      <a:pt x="516944" y="417608"/>
                      <a:pt x="880780" y="742481"/>
                      <a:pt x="1104096" y="1158478"/>
                    </a:cubicBezTo>
                    <a:cubicBezTo>
                      <a:pt x="1126865" y="1200919"/>
                      <a:pt x="1170452" y="1225030"/>
                      <a:pt x="1215460" y="1225030"/>
                    </a:cubicBezTo>
                    <a:cubicBezTo>
                      <a:pt x="1235593" y="1225030"/>
                      <a:pt x="1256099" y="1220131"/>
                      <a:pt x="1275007" y="1209952"/>
                    </a:cubicBezTo>
                    <a:cubicBezTo>
                      <a:pt x="1336504" y="1176965"/>
                      <a:pt x="1359469" y="1100459"/>
                      <a:pt x="1326482" y="1039041"/>
                    </a:cubicBezTo>
                    <a:cubicBezTo>
                      <a:pt x="1075008" y="570688"/>
                      <a:pt x="665331" y="204940"/>
                      <a:pt x="172868" y="8968"/>
                    </a:cubicBezTo>
                    <a:cubicBezTo>
                      <a:pt x="108226" y="-16788"/>
                      <a:pt x="34748" y="14824"/>
                      <a:pt x="8962" y="79576"/>
                    </a:cubicBezTo>
                    <a:cubicBezTo>
                      <a:pt x="-16795" y="144368"/>
                      <a:pt x="14859" y="217804"/>
                      <a:pt x="79687" y="243561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177" name="Freeform: Shape 1176">
                <a:extLst>
                  <a:ext uri="{FF2B5EF4-FFF2-40B4-BE49-F238E27FC236}">
                    <a16:creationId xmlns:a16="http://schemas.microsoft.com/office/drawing/2014/main" id="{36555E73-C833-046E-8871-49F2A51EEA77}"/>
                  </a:ext>
                </a:extLst>
              </p:cNvPr>
              <p:cNvSpPr/>
              <p:nvPr/>
            </p:nvSpPr>
            <p:spPr>
              <a:xfrm>
                <a:off x="-9567601" y="2311435"/>
                <a:ext cx="1469130" cy="1348848"/>
              </a:xfrm>
              <a:custGeom>
                <a:avLst/>
                <a:gdLst>
                  <a:gd name="connsiteX0" fmla="*/ 72138 w 1469130"/>
                  <a:gd name="connsiteY0" fmla="*/ 1336602 h 1348848"/>
                  <a:gd name="connsiteX1" fmla="*/ 126179 w 1469130"/>
                  <a:gd name="connsiteY1" fmla="*/ 1348848 h 1348848"/>
                  <a:gd name="connsiteX2" fmla="*/ 240296 w 1469130"/>
                  <a:gd name="connsiteY2" fmla="*/ 1276751 h 1348848"/>
                  <a:gd name="connsiteX3" fmla="*/ 1384798 w 1469130"/>
                  <a:gd name="connsiteY3" fmla="*/ 245304 h 1348848"/>
                  <a:gd name="connsiteX4" fmla="*/ 1461912 w 1469130"/>
                  <a:gd name="connsiteY4" fmla="*/ 84337 h 1348848"/>
                  <a:gd name="connsiteX5" fmla="*/ 1300945 w 1469130"/>
                  <a:gd name="connsiteY5" fmla="*/ 7185 h 1348848"/>
                  <a:gd name="connsiteX6" fmla="*/ 12228 w 1469130"/>
                  <a:gd name="connsiteY6" fmla="*/ 1168444 h 1348848"/>
                  <a:gd name="connsiteX7" fmla="*/ 72118 w 1469130"/>
                  <a:gd name="connsiteY7" fmla="*/ 1336641 h 13488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469130" h="1348848">
                    <a:moveTo>
                      <a:pt x="72138" y="1336602"/>
                    </a:moveTo>
                    <a:cubicBezTo>
                      <a:pt x="89547" y="1344910"/>
                      <a:pt x="108074" y="1348848"/>
                      <a:pt x="126179" y="1348848"/>
                    </a:cubicBezTo>
                    <a:cubicBezTo>
                      <a:pt x="173401" y="1348848"/>
                      <a:pt x="218674" y="1322249"/>
                      <a:pt x="240296" y="1276751"/>
                    </a:cubicBezTo>
                    <a:cubicBezTo>
                      <a:pt x="468080" y="797152"/>
                      <a:pt x="885222" y="421226"/>
                      <a:pt x="1384798" y="245304"/>
                    </a:cubicBezTo>
                    <a:cubicBezTo>
                      <a:pt x="1450576" y="222151"/>
                      <a:pt x="1485101" y="150050"/>
                      <a:pt x="1461912" y="84337"/>
                    </a:cubicBezTo>
                    <a:cubicBezTo>
                      <a:pt x="1438751" y="18551"/>
                      <a:pt x="1366772" y="-15927"/>
                      <a:pt x="1300945" y="7185"/>
                    </a:cubicBezTo>
                    <a:cubicBezTo>
                      <a:pt x="738334" y="205312"/>
                      <a:pt x="268620" y="628543"/>
                      <a:pt x="12228" y="1168444"/>
                    </a:cubicBezTo>
                    <a:cubicBezTo>
                      <a:pt x="-17663" y="1231430"/>
                      <a:pt x="9123" y="1306711"/>
                      <a:pt x="72118" y="1336641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271" name="Group 1270">
              <a:extLst>
                <a:ext uri="{FF2B5EF4-FFF2-40B4-BE49-F238E27FC236}">
                  <a16:creationId xmlns:a16="http://schemas.microsoft.com/office/drawing/2014/main" id="{316411F0-4DAC-FD8A-AB20-83EED5821C40}"/>
                </a:ext>
              </a:extLst>
            </p:cNvPr>
            <p:cNvGrpSpPr/>
            <p:nvPr/>
          </p:nvGrpSpPr>
          <p:grpSpPr>
            <a:xfrm>
              <a:off x="4197297" y="8124982"/>
              <a:ext cx="362596" cy="256336"/>
              <a:chOff x="-6774059" y="2970921"/>
              <a:chExt cx="4818960" cy="3406750"/>
            </a:xfrm>
            <a:solidFill>
              <a:schemeClr val="bg1"/>
            </a:solidFill>
          </p:grpSpPr>
          <p:sp>
            <p:nvSpPr>
              <p:cNvPr id="1219" name="Freeform: Shape 1218">
                <a:extLst>
                  <a:ext uri="{FF2B5EF4-FFF2-40B4-BE49-F238E27FC236}">
                    <a16:creationId xmlns:a16="http://schemas.microsoft.com/office/drawing/2014/main" id="{6C54CA9A-B680-8B44-72FB-61E3FE55BC27}"/>
                  </a:ext>
                </a:extLst>
              </p:cNvPr>
              <p:cNvSpPr/>
              <p:nvPr/>
            </p:nvSpPr>
            <p:spPr>
              <a:xfrm>
                <a:off x="-6774059" y="2970921"/>
                <a:ext cx="4069204" cy="3406750"/>
              </a:xfrm>
              <a:custGeom>
                <a:avLst/>
                <a:gdLst>
                  <a:gd name="connsiteX0" fmla="*/ 1693593 w 4069204"/>
                  <a:gd name="connsiteY0" fmla="*/ 3406555 h 3406750"/>
                  <a:gd name="connsiteX1" fmla="*/ 1695200 w 4069204"/>
                  <a:gd name="connsiteY1" fmla="*/ 3406555 h 3406750"/>
                  <a:gd name="connsiteX2" fmla="*/ 2698525 w 4069204"/>
                  <a:gd name="connsiteY2" fmla="*/ 3076861 h 3406750"/>
                  <a:gd name="connsiteX3" fmla="*/ 3316205 w 4069204"/>
                  <a:gd name="connsiteY3" fmla="*/ 2220150 h 3406750"/>
                  <a:gd name="connsiteX4" fmla="*/ 3986888 w 4069204"/>
                  <a:gd name="connsiteY4" fmla="*/ 2220150 h 3406750"/>
                  <a:gd name="connsiteX5" fmla="*/ 4069204 w 4069204"/>
                  <a:gd name="connsiteY5" fmla="*/ 2137874 h 3406750"/>
                  <a:gd name="connsiteX6" fmla="*/ 3986888 w 4069204"/>
                  <a:gd name="connsiteY6" fmla="*/ 2055588 h 3406750"/>
                  <a:gd name="connsiteX7" fmla="*/ 2816914 w 4069204"/>
                  <a:gd name="connsiteY7" fmla="*/ 2055588 h 3406750"/>
                  <a:gd name="connsiteX8" fmla="*/ 2734637 w 4069204"/>
                  <a:gd name="connsiteY8" fmla="*/ 2137874 h 3406750"/>
                  <a:gd name="connsiteX9" fmla="*/ 2816914 w 4069204"/>
                  <a:gd name="connsiteY9" fmla="*/ 2220150 h 3406750"/>
                  <a:gd name="connsiteX10" fmla="*/ 3143276 w 4069204"/>
                  <a:gd name="connsiteY10" fmla="*/ 2220150 h 3406750"/>
                  <a:gd name="connsiteX11" fmla="*/ 2613270 w 4069204"/>
                  <a:gd name="connsiteY11" fmla="*/ 2935146 h 3406750"/>
                  <a:gd name="connsiteX12" fmla="*/ 1776575 w 4069204"/>
                  <a:gd name="connsiteY12" fmla="*/ 3238554 h 3406750"/>
                  <a:gd name="connsiteX13" fmla="*/ 1776575 w 4069204"/>
                  <a:gd name="connsiteY13" fmla="*/ 2858758 h 3406750"/>
                  <a:gd name="connsiteX14" fmla="*/ 1694298 w 4069204"/>
                  <a:gd name="connsiteY14" fmla="*/ 2776481 h 3406750"/>
                  <a:gd name="connsiteX15" fmla="*/ 1611973 w 4069204"/>
                  <a:gd name="connsiteY15" fmla="*/ 2858758 h 3406750"/>
                  <a:gd name="connsiteX16" fmla="*/ 1611973 w 4069204"/>
                  <a:gd name="connsiteY16" fmla="*/ 3239700 h 3406750"/>
                  <a:gd name="connsiteX17" fmla="*/ 606786 w 4069204"/>
                  <a:gd name="connsiteY17" fmla="*/ 2790716 h 3406750"/>
                  <a:gd name="connsiteX18" fmla="*/ 157763 w 4069204"/>
                  <a:gd name="connsiteY18" fmla="*/ 1785529 h 3406750"/>
                  <a:gd name="connsiteX19" fmla="*/ 538745 w 4069204"/>
                  <a:gd name="connsiteY19" fmla="*/ 1785529 h 3406750"/>
                  <a:gd name="connsiteX20" fmla="*/ 621031 w 4069204"/>
                  <a:gd name="connsiteY20" fmla="*/ 1703253 h 3406750"/>
                  <a:gd name="connsiteX21" fmla="*/ 538745 w 4069204"/>
                  <a:gd name="connsiteY21" fmla="*/ 1620967 h 3406750"/>
                  <a:gd name="connsiteX22" fmla="*/ 157763 w 4069204"/>
                  <a:gd name="connsiteY22" fmla="*/ 1620967 h 3406750"/>
                  <a:gd name="connsiteX23" fmla="*/ 606786 w 4069204"/>
                  <a:gd name="connsiteY23" fmla="*/ 615682 h 3406750"/>
                  <a:gd name="connsiteX24" fmla="*/ 1611973 w 4069204"/>
                  <a:gd name="connsiteY24" fmla="*/ 166698 h 3406750"/>
                  <a:gd name="connsiteX25" fmla="*/ 1611973 w 4069204"/>
                  <a:gd name="connsiteY25" fmla="*/ 547680 h 3406750"/>
                  <a:gd name="connsiteX26" fmla="*/ 1694298 w 4069204"/>
                  <a:gd name="connsiteY26" fmla="*/ 629966 h 3406750"/>
                  <a:gd name="connsiteX27" fmla="*/ 1776575 w 4069204"/>
                  <a:gd name="connsiteY27" fmla="*/ 547680 h 3406750"/>
                  <a:gd name="connsiteX28" fmla="*/ 1776575 w 4069204"/>
                  <a:gd name="connsiteY28" fmla="*/ 167737 h 3406750"/>
                  <a:gd name="connsiteX29" fmla="*/ 2622685 w 4069204"/>
                  <a:gd name="connsiteY29" fmla="*/ 476082 h 3406750"/>
                  <a:gd name="connsiteX30" fmla="*/ 3151085 w 4069204"/>
                  <a:gd name="connsiteY30" fmla="*/ 1205323 h 3406750"/>
                  <a:gd name="connsiteX31" fmla="*/ 3192380 w 4069204"/>
                  <a:gd name="connsiteY31" fmla="*/ 1254269 h 3406750"/>
                  <a:gd name="connsiteX32" fmla="*/ 3256247 w 4069204"/>
                  <a:gd name="connsiteY32" fmla="*/ 1258747 h 3406750"/>
                  <a:gd name="connsiteX33" fmla="*/ 3304008 w 4069204"/>
                  <a:gd name="connsiteY33" fmla="*/ 1216119 h 3406750"/>
                  <a:gd name="connsiteX34" fmla="*/ 3306810 w 4069204"/>
                  <a:gd name="connsiteY34" fmla="*/ 1152164 h 3406750"/>
                  <a:gd name="connsiteX35" fmla="*/ 2685612 w 4069204"/>
                  <a:gd name="connsiteY35" fmla="*/ 317643 h 3406750"/>
                  <a:gd name="connsiteX36" fmla="*/ 1694925 w 4069204"/>
                  <a:gd name="connsiteY36" fmla="*/ 0 h 3406750"/>
                  <a:gd name="connsiteX37" fmla="*/ 1693887 w 4069204"/>
                  <a:gd name="connsiteY37" fmla="*/ 0 h 3406750"/>
                  <a:gd name="connsiteX38" fmla="*/ 495598 w 4069204"/>
                  <a:gd name="connsiteY38" fmla="*/ 502182 h 3406750"/>
                  <a:gd name="connsiteX39" fmla="*/ 0 w 4069204"/>
                  <a:gd name="connsiteY39" fmla="*/ 1703214 h 3406750"/>
                  <a:gd name="connsiteX40" fmla="*/ 495363 w 4069204"/>
                  <a:gd name="connsiteY40" fmla="*/ 2904344 h 3406750"/>
                  <a:gd name="connsiteX41" fmla="*/ 1693554 w 4069204"/>
                  <a:gd name="connsiteY41" fmla="*/ 3406751 h 3406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</a:cxnLst>
                <a:rect l="l" t="t" r="r" b="b"/>
                <a:pathLst>
                  <a:path w="4069204" h="3406750">
                    <a:moveTo>
                      <a:pt x="1693593" y="3406555"/>
                    </a:moveTo>
                    <a:lnTo>
                      <a:pt x="1695200" y="3406555"/>
                    </a:lnTo>
                    <a:cubicBezTo>
                      <a:pt x="2056048" y="3405409"/>
                      <a:pt x="2407335" y="3289989"/>
                      <a:pt x="2698525" y="3076861"/>
                    </a:cubicBezTo>
                    <a:cubicBezTo>
                      <a:pt x="2989765" y="2863695"/>
                      <a:pt x="3205988" y="2563814"/>
                      <a:pt x="3316205" y="2220150"/>
                    </a:cubicBezTo>
                    <a:lnTo>
                      <a:pt x="3986888" y="2220150"/>
                    </a:lnTo>
                    <a:cubicBezTo>
                      <a:pt x="4032357" y="2220150"/>
                      <a:pt x="4069204" y="2183333"/>
                      <a:pt x="4069204" y="2137874"/>
                    </a:cubicBezTo>
                    <a:cubicBezTo>
                      <a:pt x="4069204" y="2092405"/>
                      <a:pt x="4032357" y="2055588"/>
                      <a:pt x="3986888" y="2055588"/>
                    </a:cubicBezTo>
                    <a:lnTo>
                      <a:pt x="2816914" y="2055588"/>
                    </a:lnTo>
                    <a:cubicBezTo>
                      <a:pt x="2771445" y="2055588"/>
                      <a:pt x="2734637" y="2092405"/>
                      <a:pt x="2734637" y="2137874"/>
                    </a:cubicBezTo>
                    <a:cubicBezTo>
                      <a:pt x="2734637" y="2183333"/>
                      <a:pt x="2771445" y="2220150"/>
                      <a:pt x="2816914" y="2220150"/>
                    </a:cubicBezTo>
                    <a:lnTo>
                      <a:pt x="3143276" y="2220150"/>
                    </a:lnTo>
                    <a:cubicBezTo>
                      <a:pt x="3040671" y="2505375"/>
                      <a:pt x="2856328" y="2754016"/>
                      <a:pt x="2613270" y="2935146"/>
                    </a:cubicBezTo>
                    <a:cubicBezTo>
                      <a:pt x="2370213" y="3116236"/>
                      <a:pt x="2079208" y="3221751"/>
                      <a:pt x="1776575" y="3238554"/>
                    </a:cubicBezTo>
                    <a:lnTo>
                      <a:pt x="1776575" y="2858758"/>
                    </a:lnTo>
                    <a:cubicBezTo>
                      <a:pt x="1776575" y="2813328"/>
                      <a:pt x="1739718" y="2776481"/>
                      <a:pt x="1694298" y="2776481"/>
                    </a:cubicBezTo>
                    <a:cubicBezTo>
                      <a:pt x="1648830" y="2776481"/>
                      <a:pt x="1611973" y="2813328"/>
                      <a:pt x="1611973" y="2858758"/>
                    </a:cubicBezTo>
                    <a:lnTo>
                      <a:pt x="1611973" y="3239700"/>
                    </a:lnTo>
                    <a:cubicBezTo>
                      <a:pt x="1233059" y="3218920"/>
                      <a:pt x="875120" y="3059060"/>
                      <a:pt x="606786" y="2790716"/>
                    </a:cubicBezTo>
                    <a:cubicBezTo>
                      <a:pt x="338432" y="2522363"/>
                      <a:pt x="178543" y="2164463"/>
                      <a:pt x="157763" y="1785529"/>
                    </a:cubicBezTo>
                    <a:lnTo>
                      <a:pt x="538745" y="1785529"/>
                    </a:lnTo>
                    <a:cubicBezTo>
                      <a:pt x="584213" y="1785529"/>
                      <a:pt x="621031" y="1748712"/>
                      <a:pt x="621031" y="1703253"/>
                    </a:cubicBezTo>
                    <a:cubicBezTo>
                      <a:pt x="621031" y="1657784"/>
                      <a:pt x="584213" y="1620967"/>
                      <a:pt x="538745" y="1620967"/>
                    </a:cubicBezTo>
                    <a:lnTo>
                      <a:pt x="157763" y="1620967"/>
                    </a:lnTo>
                    <a:cubicBezTo>
                      <a:pt x="178543" y="1242013"/>
                      <a:pt x="338432" y="884075"/>
                      <a:pt x="606786" y="615682"/>
                    </a:cubicBezTo>
                    <a:cubicBezTo>
                      <a:pt x="875140" y="347328"/>
                      <a:pt x="1233078" y="187439"/>
                      <a:pt x="1611973" y="166698"/>
                    </a:cubicBezTo>
                    <a:lnTo>
                      <a:pt x="1611973" y="547680"/>
                    </a:lnTo>
                    <a:cubicBezTo>
                      <a:pt x="1611973" y="593109"/>
                      <a:pt x="1648830" y="629966"/>
                      <a:pt x="1694298" y="629966"/>
                    </a:cubicBezTo>
                    <a:cubicBezTo>
                      <a:pt x="1739718" y="629966"/>
                      <a:pt x="1776575" y="593109"/>
                      <a:pt x="1776575" y="547680"/>
                    </a:cubicBezTo>
                    <a:lnTo>
                      <a:pt x="1776575" y="167737"/>
                    </a:lnTo>
                    <a:cubicBezTo>
                      <a:pt x="2083039" y="183814"/>
                      <a:pt x="2377718" y="291200"/>
                      <a:pt x="2622685" y="476082"/>
                    </a:cubicBezTo>
                    <a:cubicBezTo>
                      <a:pt x="2867614" y="661003"/>
                      <a:pt x="3051653" y="914965"/>
                      <a:pt x="3151085" y="1205323"/>
                    </a:cubicBezTo>
                    <a:cubicBezTo>
                      <a:pt x="3157668" y="1226524"/>
                      <a:pt x="3172589" y="1244208"/>
                      <a:pt x="3192380" y="1254269"/>
                    </a:cubicBezTo>
                    <a:cubicBezTo>
                      <a:pt x="3212199" y="1264341"/>
                      <a:pt x="3235242" y="1265948"/>
                      <a:pt x="3256247" y="1258747"/>
                    </a:cubicBezTo>
                    <a:cubicBezTo>
                      <a:pt x="3277301" y="1251595"/>
                      <a:pt x="3294525" y="1236213"/>
                      <a:pt x="3304008" y="1216119"/>
                    </a:cubicBezTo>
                    <a:cubicBezTo>
                      <a:pt x="3313541" y="1196065"/>
                      <a:pt x="3314540" y="1172983"/>
                      <a:pt x="3306810" y="1152164"/>
                    </a:cubicBezTo>
                    <a:cubicBezTo>
                      <a:pt x="3191811" y="816004"/>
                      <a:pt x="2974628" y="524225"/>
                      <a:pt x="2685612" y="317643"/>
                    </a:cubicBezTo>
                    <a:cubicBezTo>
                      <a:pt x="2396597" y="111060"/>
                      <a:pt x="2050219" y="0"/>
                      <a:pt x="1694925" y="0"/>
                    </a:cubicBezTo>
                    <a:lnTo>
                      <a:pt x="1693887" y="0"/>
                    </a:lnTo>
                    <a:cubicBezTo>
                      <a:pt x="1243796" y="2528"/>
                      <a:pt x="812986" y="183089"/>
                      <a:pt x="495598" y="502182"/>
                    </a:cubicBezTo>
                    <a:cubicBezTo>
                      <a:pt x="178220" y="821314"/>
                      <a:pt x="39" y="1253113"/>
                      <a:pt x="0" y="1703214"/>
                    </a:cubicBezTo>
                    <a:cubicBezTo>
                      <a:pt x="-39" y="2153304"/>
                      <a:pt x="178034" y="2585114"/>
                      <a:pt x="495363" y="2904344"/>
                    </a:cubicBezTo>
                    <a:cubicBezTo>
                      <a:pt x="812702" y="3223515"/>
                      <a:pt x="1243424" y="3404154"/>
                      <a:pt x="1693554" y="3406751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0" name="Freeform: Shape 1219">
                <a:extLst>
                  <a:ext uri="{FF2B5EF4-FFF2-40B4-BE49-F238E27FC236}">
                    <a16:creationId xmlns:a16="http://schemas.microsoft.com/office/drawing/2014/main" id="{2A6D0A1C-D7F8-6995-59AF-870CD06489E0}"/>
                  </a:ext>
                </a:extLst>
              </p:cNvPr>
              <p:cNvSpPr/>
              <p:nvPr/>
            </p:nvSpPr>
            <p:spPr>
              <a:xfrm>
                <a:off x="-5942735" y="3955335"/>
                <a:ext cx="1450818" cy="947335"/>
              </a:xfrm>
              <a:custGeom>
                <a:avLst/>
                <a:gdLst>
                  <a:gd name="connsiteX0" fmla="*/ 1312055 w 1450818"/>
                  <a:gd name="connsiteY0" fmla="*/ 342893 h 947335"/>
                  <a:gd name="connsiteX1" fmla="*/ 865864 w 1450818"/>
                  <a:gd name="connsiteY1" fmla="*/ 751081 h 947335"/>
                  <a:gd name="connsiteX2" fmla="*/ 140611 w 1450818"/>
                  <a:gd name="connsiteY2" fmla="*/ 24221 h 947335"/>
                  <a:gd name="connsiteX3" fmla="*/ 24192 w 1450818"/>
                  <a:gd name="connsiteY3" fmla="*/ 24025 h 947335"/>
                  <a:gd name="connsiteX4" fmla="*/ 23996 w 1450818"/>
                  <a:gd name="connsiteY4" fmla="*/ 140406 h 947335"/>
                  <a:gd name="connsiteX5" fmla="*/ 804632 w 1450818"/>
                  <a:gd name="connsiteY5" fmla="*/ 923148 h 947335"/>
                  <a:gd name="connsiteX6" fmla="*/ 918445 w 1450818"/>
                  <a:gd name="connsiteY6" fmla="*/ 925754 h 947335"/>
                  <a:gd name="connsiteX7" fmla="*/ 1423195 w 1450818"/>
                  <a:gd name="connsiteY7" fmla="*/ 464407 h 947335"/>
                  <a:gd name="connsiteX8" fmla="*/ 1423234 w 1450818"/>
                  <a:gd name="connsiteY8" fmla="*/ 464368 h 947335"/>
                  <a:gd name="connsiteX9" fmla="*/ 1450715 w 1450818"/>
                  <a:gd name="connsiteY9" fmla="*/ 407152 h 947335"/>
                  <a:gd name="connsiteX10" fmla="*/ 1429249 w 1450818"/>
                  <a:gd name="connsiteY10" fmla="*/ 347380 h 947335"/>
                  <a:gd name="connsiteX11" fmla="*/ 1371652 w 1450818"/>
                  <a:gd name="connsiteY11" fmla="*/ 320663 h 947335"/>
                  <a:gd name="connsiteX12" fmla="*/ 1312173 w 1450818"/>
                  <a:gd name="connsiteY12" fmla="*/ 342903 h 9473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450818" h="947335">
                    <a:moveTo>
                      <a:pt x="1312055" y="342893"/>
                    </a:moveTo>
                    <a:lnTo>
                      <a:pt x="865864" y="751081"/>
                    </a:lnTo>
                    <a:lnTo>
                      <a:pt x="140611" y="24221"/>
                    </a:lnTo>
                    <a:cubicBezTo>
                      <a:pt x="108506" y="-8002"/>
                      <a:pt x="56415" y="-8080"/>
                      <a:pt x="24192" y="24025"/>
                    </a:cubicBezTo>
                    <a:cubicBezTo>
                      <a:pt x="-7992" y="56101"/>
                      <a:pt x="-8070" y="108222"/>
                      <a:pt x="23996" y="140406"/>
                    </a:cubicBezTo>
                    <a:lnTo>
                      <a:pt x="804632" y="923148"/>
                    </a:lnTo>
                    <a:cubicBezTo>
                      <a:pt x="835748" y="954382"/>
                      <a:pt x="885958" y="955488"/>
                      <a:pt x="918445" y="925754"/>
                    </a:cubicBezTo>
                    <a:lnTo>
                      <a:pt x="1423195" y="464407"/>
                    </a:lnTo>
                    <a:lnTo>
                      <a:pt x="1423234" y="464368"/>
                    </a:lnTo>
                    <a:cubicBezTo>
                      <a:pt x="1439654" y="449750"/>
                      <a:pt x="1449568" y="429117"/>
                      <a:pt x="1450715" y="407152"/>
                    </a:cubicBezTo>
                    <a:cubicBezTo>
                      <a:pt x="1451822" y="385148"/>
                      <a:pt x="1444092" y="363643"/>
                      <a:pt x="1429249" y="347380"/>
                    </a:cubicBezTo>
                    <a:cubicBezTo>
                      <a:pt x="1414397" y="331117"/>
                      <a:pt x="1393656" y="321506"/>
                      <a:pt x="1371652" y="320663"/>
                    </a:cubicBezTo>
                    <a:cubicBezTo>
                      <a:pt x="1349647" y="319820"/>
                      <a:pt x="1328211" y="327864"/>
                      <a:pt x="1312173" y="342903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1" name="Freeform: Shape 1220">
                <a:extLst>
                  <a:ext uri="{FF2B5EF4-FFF2-40B4-BE49-F238E27FC236}">
                    <a16:creationId xmlns:a16="http://schemas.microsoft.com/office/drawing/2014/main" id="{D2F308CE-BDDB-AB83-5009-6B472F089072}"/>
                  </a:ext>
                </a:extLst>
              </p:cNvPr>
              <p:cNvSpPr/>
              <p:nvPr/>
            </p:nvSpPr>
            <p:spPr>
              <a:xfrm>
                <a:off x="-3380250" y="3724694"/>
                <a:ext cx="939104" cy="164601"/>
              </a:xfrm>
              <a:custGeom>
                <a:avLst/>
                <a:gdLst>
                  <a:gd name="connsiteX0" fmla="*/ 82276 w 939104"/>
                  <a:gd name="connsiteY0" fmla="*/ 164602 h 164601"/>
                  <a:gd name="connsiteX1" fmla="*/ 856790 w 939104"/>
                  <a:gd name="connsiteY1" fmla="*/ 164602 h 164601"/>
                  <a:gd name="connsiteX2" fmla="*/ 939105 w 939104"/>
                  <a:gd name="connsiteY2" fmla="*/ 82325 h 164601"/>
                  <a:gd name="connsiteX3" fmla="*/ 856790 w 939104"/>
                  <a:gd name="connsiteY3" fmla="*/ 0 h 164601"/>
                  <a:gd name="connsiteX4" fmla="*/ 82276 w 939104"/>
                  <a:gd name="connsiteY4" fmla="*/ 0 h 164601"/>
                  <a:gd name="connsiteX5" fmla="*/ 0 w 939104"/>
                  <a:gd name="connsiteY5" fmla="*/ 82325 h 164601"/>
                  <a:gd name="connsiteX6" fmla="*/ 82276 w 939104"/>
                  <a:gd name="connsiteY6" fmla="*/ 164602 h 16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939104" h="164601">
                    <a:moveTo>
                      <a:pt x="82276" y="164602"/>
                    </a:moveTo>
                    <a:lnTo>
                      <a:pt x="856790" y="164602"/>
                    </a:lnTo>
                    <a:cubicBezTo>
                      <a:pt x="902258" y="164602"/>
                      <a:pt x="939105" y="127745"/>
                      <a:pt x="939105" y="82325"/>
                    </a:cubicBezTo>
                    <a:cubicBezTo>
                      <a:pt x="939105" y="36857"/>
                      <a:pt x="902258" y="0"/>
                      <a:pt x="856790" y="0"/>
                    </a:cubicBezTo>
                    <a:lnTo>
                      <a:pt x="82276" y="0"/>
                    </a:lnTo>
                    <a:cubicBezTo>
                      <a:pt x="36847" y="0"/>
                      <a:pt x="0" y="36857"/>
                      <a:pt x="0" y="82325"/>
                    </a:cubicBezTo>
                    <a:cubicBezTo>
                      <a:pt x="0" y="127745"/>
                      <a:pt x="36847" y="164602"/>
                      <a:pt x="82276" y="164602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2" name="Freeform: Shape 1221">
                <a:extLst>
                  <a:ext uri="{FF2B5EF4-FFF2-40B4-BE49-F238E27FC236}">
                    <a16:creationId xmlns:a16="http://schemas.microsoft.com/office/drawing/2014/main" id="{D0AD3165-9CE6-FC7E-4DEC-89657BAE8867}"/>
                  </a:ext>
                </a:extLst>
              </p:cNvPr>
              <p:cNvSpPr/>
              <p:nvPr/>
            </p:nvSpPr>
            <p:spPr>
              <a:xfrm>
                <a:off x="-2300703" y="4346714"/>
                <a:ext cx="345604" cy="164601"/>
              </a:xfrm>
              <a:custGeom>
                <a:avLst/>
                <a:gdLst>
                  <a:gd name="connsiteX0" fmla="*/ 82277 w 345604"/>
                  <a:gd name="connsiteY0" fmla="*/ 164602 h 164601"/>
                  <a:gd name="connsiteX1" fmla="*/ 263328 w 345604"/>
                  <a:gd name="connsiteY1" fmla="*/ 164602 h 164601"/>
                  <a:gd name="connsiteX2" fmla="*/ 345604 w 345604"/>
                  <a:gd name="connsiteY2" fmla="*/ 82325 h 164601"/>
                  <a:gd name="connsiteX3" fmla="*/ 263328 w 345604"/>
                  <a:gd name="connsiteY3" fmla="*/ 0 h 164601"/>
                  <a:gd name="connsiteX4" fmla="*/ 82277 w 345604"/>
                  <a:gd name="connsiteY4" fmla="*/ 0 h 164601"/>
                  <a:gd name="connsiteX5" fmla="*/ 0 w 345604"/>
                  <a:gd name="connsiteY5" fmla="*/ 82325 h 164601"/>
                  <a:gd name="connsiteX6" fmla="*/ 82277 w 345604"/>
                  <a:gd name="connsiteY6" fmla="*/ 164602 h 1646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45604" h="164601">
                    <a:moveTo>
                      <a:pt x="82277" y="164602"/>
                    </a:moveTo>
                    <a:lnTo>
                      <a:pt x="263328" y="164602"/>
                    </a:lnTo>
                    <a:cubicBezTo>
                      <a:pt x="308796" y="164602"/>
                      <a:pt x="345604" y="127745"/>
                      <a:pt x="345604" y="82325"/>
                    </a:cubicBezTo>
                    <a:cubicBezTo>
                      <a:pt x="345604" y="36857"/>
                      <a:pt x="308796" y="0"/>
                      <a:pt x="263328" y="0"/>
                    </a:cubicBezTo>
                    <a:lnTo>
                      <a:pt x="82277" y="0"/>
                    </a:lnTo>
                    <a:cubicBezTo>
                      <a:pt x="36808" y="0"/>
                      <a:pt x="0" y="36857"/>
                      <a:pt x="0" y="82325"/>
                    </a:cubicBezTo>
                    <a:cubicBezTo>
                      <a:pt x="0" y="127745"/>
                      <a:pt x="36808" y="164602"/>
                      <a:pt x="82277" y="164602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3" name="Freeform: Shape 1222">
                <a:extLst>
                  <a:ext uri="{FF2B5EF4-FFF2-40B4-BE49-F238E27FC236}">
                    <a16:creationId xmlns:a16="http://schemas.microsoft.com/office/drawing/2014/main" id="{BC8E14E6-A356-1C07-ED7C-03A1DE657B67}"/>
                  </a:ext>
                </a:extLst>
              </p:cNvPr>
              <p:cNvSpPr/>
              <p:nvPr/>
            </p:nvSpPr>
            <p:spPr>
              <a:xfrm>
                <a:off x="-2910614" y="4346704"/>
                <a:ext cx="469498" cy="164591"/>
              </a:xfrm>
              <a:custGeom>
                <a:avLst/>
                <a:gdLst>
                  <a:gd name="connsiteX0" fmla="*/ 469498 w 469498"/>
                  <a:gd name="connsiteY0" fmla="*/ 82316 h 164591"/>
                  <a:gd name="connsiteX1" fmla="*/ 387183 w 469498"/>
                  <a:gd name="connsiteY1" fmla="*/ 0 h 164591"/>
                  <a:gd name="connsiteX2" fmla="*/ 82325 w 469498"/>
                  <a:gd name="connsiteY2" fmla="*/ 0 h 164591"/>
                  <a:gd name="connsiteX3" fmla="*/ 0 w 469498"/>
                  <a:gd name="connsiteY3" fmla="*/ 82316 h 164591"/>
                  <a:gd name="connsiteX4" fmla="*/ 82325 w 469498"/>
                  <a:gd name="connsiteY4" fmla="*/ 164592 h 164591"/>
                  <a:gd name="connsiteX5" fmla="*/ 387183 w 469498"/>
                  <a:gd name="connsiteY5" fmla="*/ 164592 h 164591"/>
                  <a:gd name="connsiteX6" fmla="*/ 469498 w 469498"/>
                  <a:gd name="connsiteY6" fmla="*/ 82316 h 1645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9498" h="164591">
                    <a:moveTo>
                      <a:pt x="469498" y="82316"/>
                    </a:moveTo>
                    <a:cubicBezTo>
                      <a:pt x="469498" y="36847"/>
                      <a:pt x="432642" y="0"/>
                      <a:pt x="387183" y="0"/>
                    </a:cubicBezTo>
                    <a:lnTo>
                      <a:pt x="82325" y="0"/>
                    </a:lnTo>
                    <a:cubicBezTo>
                      <a:pt x="36857" y="0"/>
                      <a:pt x="0" y="36847"/>
                      <a:pt x="0" y="82316"/>
                    </a:cubicBezTo>
                    <a:cubicBezTo>
                      <a:pt x="0" y="127745"/>
                      <a:pt x="36857" y="164592"/>
                      <a:pt x="82325" y="164592"/>
                    </a:cubicBezTo>
                    <a:lnTo>
                      <a:pt x="387183" y="164592"/>
                    </a:lnTo>
                    <a:cubicBezTo>
                      <a:pt x="432642" y="164592"/>
                      <a:pt x="469498" y="127745"/>
                      <a:pt x="469498" y="82316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4" name="Freeform: Shape 1223">
                <a:extLst>
                  <a:ext uri="{FF2B5EF4-FFF2-40B4-BE49-F238E27FC236}">
                    <a16:creationId xmlns:a16="http://schemas.microsoft.com/office/drawing/2014/main" id="{0A88B3B7-FCA7-BFA8-ADC7-B3819AB8C511}"/>
                  </a:ext>
                </a:extLst>
              </p:cNvPr>
              <p:cNvSpPr/>
              <p:nvPr/>
            </p:nvSpPr>
            <p:spPr>
              <a:xfrm>
                <a:off x="-3973507" y="4346704"/>
                <a:ext cx="914396" cy="525489"/>
              </a:xfrm>
              <a:custGeom>
                <a:avLst/>
                <a:gdLst>
                  <a:gd name="connsiteX0" fmla="*/ 914387 w 914396"/>
                  <a:gd name="connsiteY0" fmla="*/ 82316 h 525489"/>
                  <a:gd name="connsiteX1" fmla="*/ 832072 w 914396"/>
                  <a:gd name="connsiteY1" fmla="*/ 0 h 525489"/>
                  <a:gd name="connsiteX2" fmla="*/ 82326 w 914396"/>
                  <a:gd name="connsiteY2" fmla="*/ 0 h 525489"/>
                  <a:gd name="connsiteX3" fmla="*/ 0 w 914396"/>
                  <a:gd name="connsiteY3" fmla="*/ 82316 h 525489"/>
                  <a:gd name="connsiteX4" fmla="*/ 82326 w 914396"/>
                  <a:gd name="connsiteY4" fmla="*/ 164592 h 525489"/>
                  <a:gd name="connsiteX5" fmla="*/ 422972 w 914396"/>
                  <a:gd name="connsiteY5" fmla="*/ 164592 h 525489"/>
                  <a:gd name="connsiteX6" fmla="*/ 432573 w 914396"/>
                  <a:gd name="connsiteY6" fmla="*/ 327430 h 525489"/>
                  <a:gd name="connsiteX7" fmla="*/ 428635 w 914396"/>
                  <a:gd name="connsiteY7" fmla="*/ 437726 h 525489"/>
                  <a:gd name="connsiteX8" fmla="*/ 448690 w 914396"/>
                  <a:gd name="connsiteY8" fmla="*/ 497470 h 525489"/>
                  <a:gd name="connsiteX9" fmla="*/ 505131 w 914396"/>
                  <a:gd name="connsiteY9" fmla="*/ 525489 h 525489"/>
                  <a:gd name="connsiteX10" fmla="*/ 510608 w 914396"/>
                  <a:gd name="connsiteY10" fmla="*/ 525489 h 525489"/>
                  <a:gd name="connsiteX11" fmla="*/ 510647 w 914396"/>
                  <a:gd name="connsiteY11" fmla="*/ 525489 h 525489"/>
                  <a:gd name="connsiteX12" fmla="*/ 592620 w 914396"/>
                  <a:gd name="connsiteY12" fmla="*/ 448680 h 525489"/>
                  <a:gd name="connsiteX13" fmla="*/ 596950 w 914396"/>
                  <a:gd name="connsiteY13" fmla="*/ 327244 h 525489"/>
                  <a:gd name="connsiteX14" fmla="*/ 588338 w 914396"/>
                  <a:gd name="connsiteY14" fmla="*/ 164406 h 525489"/>
                  <a:gd name="connsiteX15" fmla="*/ 831885 w 914396"/>
                  <a:gd name="connsiteY15" fmla="*/ 164406 h 525489"/>
                  <a:gd name="connsiteX16" fmla="*/ 831846 w 914396"/>
                  <a:gd name="connsiteY16" fmla="*/ 164445 h 525489"/>
                  <a:gd name="connsiteX17" fmla="*/ 890129 w 914396"/>
                  <a:gd name="connsiteY17" fmla="*/ 140442 h 525489"/>
                  <a:gd name="connsiteX18" fmla="*/ 914397 w 914396"/>
                  <a:gd name="connsiteY18" fmla="*/ 82316 h 5254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914396" h="525489">
                    <a:moveTo>
                      <a:pt x="914387" y="82316"/>
                    </a:moveTo>
                    <a:cubicBezTo>
                      <a:pt x="914387" y="36847"/>
                      <a:pt x="877530" y="0"/>
                      <a:pt x="832072" y="0"/>
                    </a:cubicBezTo>
                    <a:lnTo>
                      <a:pt x="82326" y="0"/>
                    </a:lnTo>
                    <a:cubicBezTo>
                      <a:pt x="36857" y="0"/>
                      <a:pt x="0" y="36847"/>
                      <a:pt x="0" y="82316"/>
                    </a:cubicBezTo>
                    <a:cubicBezTo>
                      <a:pt x="0" y="127745"/>
                      <a:pt x="36857" y="164592"/>
                      <a:pt x="82326" y="164592"/>
                    </a:cubicBezTo>
                    <a:lnTo>
                      <a:pt x="422972" y="164592"/>
                    </a:lnTo>
                    <a:cubicBezTo>
                      <a:pt x="429056" y="218672"/>
                      <a:pt x="432230" y="273007"/>
                      <a:pt x="432573" y="327430"/>
                    </a:cubicBezTo>
                    <a:cubicBezTo>
                      <a:pt x="432573" y="362112"/>
                      <a:pt x="431202" y="399194"/>
                      <a:pt x="428635" y="437726"/>
                    </a:cubicBezTo>
                    <a:cubicBezTo>
                      <a:pt x="427106" y="459506"/>
                      <a:pt x="434337" y="481010"/>
                      <a:pt x="448690" y="497470"/>
                    </a:cubicBezTo>
                    <a:cubicBezTo>
                      <a:pt x="463042" y="513929"/>
                      <a:pt x="483362" y="524030"/>
                      <a:pt x="505131" y="525489"/>
                    </a:cubicBezTo>
                    <a:lnTo>
                      <a:pt x="510608" y="525489"/>
                    </a:lnTo>
                    <a:lnTo>
                      <a:pt x="510647" y="525489"/>
                    </a:lnTo>
                    <a:cubicBezTo>
                      <a:pt x="553891" y="525411"/>
                      <a:pt x="589710" y="491846"/>
                      <a:pt x="592620" y="448680"/>
                    </a:cubicBezTo>
                    <a:cubicBezTo>
                      <a:pt x="595490" y="406503"/>
                      <a:pt x="596950" y="365629"/>
                      <a:pt x="596950" y="327244"/>
                    </a:cubicBezTo>
                    <a:cubicBezTo>
                      <a:pt x="596950" y="272360"/>
                      <a:pt x="593423" y="218172"/>
                      <a:pt x="588338" y="164406"/>
                    </a:cubicBezTo>
                    <a:lnTo>
                      <a:pt x="831885" y="164406"/>
                    </a:lnTo>
                    <a:lnTo>
                      <a:pt x="831846" y="164445"/>
                    </a:lnTo>
                    <a:cubicBezTo>
                      <a:pt x="853694" y="164484"/>
                      <a:pt x="874669" y="155873"/>
                      <a:pt x="890129" y="140442"/>
                    </a:cubicBezTo>
                    <a:cubicBezTo>
                      <a:pt x="905629" y="125060"/>
                      <a:pt x="914319" y="104124"/>
                      <a:pt x="914397" y="82316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5" name="Freeform: Shape 1224">
                <a:extLst>
                  <a:ext uri="{FF2B5EF4-FFF2-40B4-BE49-F238E27FC236}">
                    <a16:creationId xmlns:a16="http://schemas.microsoft.com/office/drawing/2014/main" id="{D801E390-0077-8DEA-488E-6648BB7F3A4E}"/>
                  </a:ext>
                </a:extLst>
              </p:cNvPr>
              <p:cNvSpPr/>
              <p:nvPr/>
            </p:nvSpPr>
            <p:spPr>
              <a:xfrm>
                <a:off x="-2712889" y="5463128"/>
                <a:ext cx="469381" cy="164552"/>
              </a:xfrm>
              <a:custGeom>
                <a:avLst/>
                <a:gdLst>
                  <a:gd name="connsiteX0" fmla="*/ 0 w 469381"/>
                  <a:gd name="connsiteY0" fmla="*/ 82276 h 164552"/>
                  <a:gd name="connsiteX1" fmla="*/ 82277 w 469381"/>
                  <a:gd name="connsiteY1" fmla="*/ 164553 h 164552"/>
                  <a:gd name="connsiteX2" fmla="*/ 387095 w 469381"/>
                  <a:gd name="connsiteY2" fmla="*/ 164553 h 164552"/>
                  <a:gd name="connsiteX3" fmla="*/ 469381 w 469381"/>
                  <a:gd name="connsiteY3" fmla="*/ 82276 h 164552"/>
                  <a:gd name="connsiteX4" fmla="*/ 387095 w 469381"/>
                  <a:gd name="connsiteY4" fmla="*/ 0 h 164552"/>
                  <a:gd name="connsiteX5" fmla="*/ 82277 w 469381"/>
                  <a:gd name="connsiteY5" fmla="*/ 0 h 164552"/>
                  <a:gd name="connsiteX6" fmla="*/ 0 w 469381"/>
                  <a:gd name="connsiteY6" fmla="*/ 82276 h 1645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469381" h="164552">
                    <a:moveTo>
                      <a:pt x="0" y="82276"/>
                    </a:moveTo>
                    <a:cubicBezTo>
                      <a:pt x="0" y="127745"/>
                      <a:pt x="36818" y="164553"/>
                      <a:pt x="82277" y="164553"/>
                    </a:cubicBezTo>
                    <a:lnTo>
                      <a:pt x="387095" y="164553"/>
                    </a:lnTo>
                    <a:cubicBezTo>
                      <a:pt x="432564" y="164553"/>
                      <a:pt x="469381" y="127745"/>
                      <a:pt x="469381" y="82276"/>
                    </a:cubicBezTo>
                    <a:cubicBezTo>
                      <a:pt x="469381" y="36808"/>
                      <a:pt x="432564" y="0"/>
                      <a:pt x="387095" y="0"/>
                    </a:cubicBezTo>
                    <a:lnTo>
                      <a:pt x="82277" y="0"/>
                    </a:lnTo>
                    <a:cubicBezTo>
                      <a:pt x="36818" y="0"/>
                      <a:pt x="0" y="36808"/>
                      <a:pt x="0" y="82276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6" name="Freeform: Shape 1225">
                <a:extLst>
                  <a:ext uri="{FF2B5EF4-FFF2-40B4-BE49-F238E27FC236}">
                    <a16:creationId xmlns:a16="http://schemas.microsoft.com/office/drawing/2014/main" id="{BB8644C6-A465-32E3-E307-20E89564D561}"/>
                  </a:ext>
                </a:extLst>
              </p:cNvPr>
              <p:cNvSpPr/>
              <p:nvPr/>
            </p:nvSpPr>
            <p:spPr>
              <a:xfrm>
                <a:off x="-3454395" y="5463138"/>
                <a:ext cx="625978" cy="164562"/>
              </a:xfrm>
              <a:custGeom>
                <a:avLst/>
                <a:gdLst>
                  <a:gd name="connsiteX0" fmla="*/ 543702 w 625978"/>
                  <a:gd name="connsiteY0" fmla="*/ 164563 h 164562"/>
                  <a:gd name="connsiteX1" fmla="*/ 625978 w 625978"/>
                  <a:gd name="connsiteY1" fmla="*/ 82286 h 164562"/>
                  <a:gd name="connsiteX2" fmla="*/ 543702 w 625978"/>
                  <a:gd name="connsiteY2" fmla="*/ 0 h 164562"/>
                  <a:gd name="connsiteX3" fmla="*/ 82276 w 625978"/>
                  <a:gd name="connsiteY3" fmla="*/ 0 h 164562"/>
                  <a:gd name="connsiteX4" fmla="*/ 0 w 625978"/>
                  <a:gd name="connsiteY4" fmla="*/ 82286 h 164562"/>
                  <a:gd name="connsiteX5" fmla="*/ 82276 w 625978"/>
                  <a:gd name="connsiteY5" fmla="*/ 164563 h 1645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625978" h="164562">
                    <a:moveTo>
                      <a:pt x="543702" y="164563"/>
                    </a:moveTo>
                    <a:cubicBezTo>
                      <a:pt x="589132" y="164563"/>
                      <a:pt x="625978" y="127745"/>
                      <a:pt x="625978" y="82286"/>
                    </a:cubicBezTo>
                    <a:cubicBezTo>
                      <a:pt x="625978" y="36818"/>
                      <a:pt x="589132" y="0"/>
                      <a:pt x="543702" y="0"/>
                    </a:cubicBezTo>
                    <a:lnTo>
                      <a:pt x="82276" y="0"/>
                    </a:lnTo>
                    <a:cubicBezTo>
                      <a:pt x="36808" y="0"/>
                      <a:pt x="0" y="36818"/>
                      <a:pt x="0" y="82286"/>
                    </a:cubicBezTo>
                    <a:cubicBezTo>
                      <a:pt x="0" y="127745"/>
                      <a:pt x="36808" y="164563"/>
                      <a:pt x="82276" y="164563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grpSp>
          <p:nvGrpSpPr>
            <p:cNvPr id="1302" name="Group 1301">
              <a:extLst>
                <a:ext uri="{FF2B5EF4-FFF2-40B4-BE49-F238E27FC236}">
                  <a16:creationId xmlns:a16="http://schemas.microsoft.com/office/drawing/2014/main" id="{CF788E81-A88B-5E20-0FFF-68682D627CE1}"/>
                </a:ext>
              </a:extLst>
            </p:cNvPr>
            <p:cNvGrpSpPr/>
            <p:nvPr/>
          </p:nvGrpSpPr>
          <p:grpSpPr>
            <a:xfrm>
              <a:off x="4246445" y="7296651"/>
              <a:ext cx="318644" cy="230742"/>
              <a:chOff x="-6116337" y="2303497"/>
              <a:chExt cx="4972050" cy="3600450"/>
            </a:xfrm>
            <a:solidFill>
              <a:srgbClr val="1F4CB9"/>
            </a:solidFill>
          </p:grpSpPr>
          <p:sp>
            <p:nvSpPr>
              <p:cNvPr id="1275" name="Freeform: Shape 1274">
                <a:extLst>
                  <a:ext uri="{FF2B5EF4-FFF2-40B4-BE49-F238E27FC236}">
                    <a16:creationId xmlns:a16="http://schemas.microsoft.com/office/drawing/2014/main" id="{FA45ACFE-34E2-45C1-553F-DEA949E6F3CB}"/>
                  </a:ext>
                </a:extLst>
              </p:cNvPr>
              <p:cNvSpPr/>
              <p:nvPr/>
            </p:nvSpPr>
            <p:spPr>
              <a:xfrm>
                <a:off x="-3201687" y="3332197"/>
                <a:ext cx="2057400" cy="1200150"/>
              </a:xfrm>
              <a:custGeom>
                <a:avLst/>
                <a:gdLst>
                  <a:gd name="connsiteX0" fmla="*/ 1971675 w 2057400"/>
                  <a:gd name="connsiteY0" fmla="*/ 1200150 h 1200150"/>
                  <a:gd name="connsiteX1" fmla="*/ 1011555 w 2057400"/>
                  <a:gd name="connsiteY1" fmla="*/ 1105853 h 1200150"/>
                  <a:gd name="connsiteX2" fmla="*/ 85725 w 2057400"/>
                  <a:gd name="connsiteY2" fmla="*/ 1011555 h 1200150"/>
                  <a:gd name="connsiteX3" fmla="*/ 0 w 2057400"/>
                  <a:gd name="connsiteY3" fmla="*/ 925830 h 1200150"/>
                  <a:gd name="connsiteX4" fmla="*/ 0 w 2057400"/>
                  <a:gd name="connsiteY4" fmla="*/ 85725 h 1200150"/>
                  <a:gd name="connsiteX5" fmla="*/ 85725 w 2057400"/>
                  <a:gd name="connsiteY5" fmla="*/ 0 h 1200150"/>
                  <a:gd name="connsiteX6" fmla="*/ 1045845 w 2057400"/>
                  <a:gd name="connsiteY6" fmla="*/ 94298 h 1200150"/>
                  <a:gd name="connsiteX7" fmla="*/ 1971675 w 2057400"/>
                  <a:gd name="connsiteY7" fmla="*/ 188595 h 1200150"/>
                  <a:gd name="connsiteX8" fmla="*/ 2057400 w 2057400"/>
                  <a:gd name="connsiteY8" fmla="*/ 274320 h 1200150"/>
                  <a:gd name="connsiteX9" fmla="*/ 2057400 w 2057400"/>
                  <a:gd name="connsiteY9" fmla="*/ 1114425 h 1200150"/>
                  <a:gd name="connsiteX10" fmla="*/ 1971675 w 2057400"/>
                  <a:gd name="connsiteY10" fmla="*/ 1200150 h 1200150"/>
                  <a:gd name="connsiteX11" fmla="*/ 171450 w 2057400"/>
                  <a:gd name="connsiteY11" fmla="*/ 840105 h 1200150"/>
                  <a:gd name="connsiteX12" fmla="*/ 1045845 w 2057400"/>
                  <a:gd name="connsiteY12" fmla="*/ 934403 h 1200150"/>
                  <a:gd name="connsiteX13" fmla="*/ 1885950 w 2057400"/>
                  <a:gd name="connsiteY13" fmla="*/ 1028700 h 1200150"/>
                  <a:gd name="connsiteX14" fmla="*/ 1885950 w 2057400"/>
                  <a:gd name="connsiteY14" fmla="*/ 360045 h 1200150"/>
                  <a:gd name="connsiteX15" fmla="*/ 1011555 w 2057400"/>
                  <a:gd name="connsiteY15" fmla="*/ 265748 h 1200150"/>
                  <a:gd name="connsiteX16" fmla="*/ 171450 w 2057400"/>
                  <a:gd name="connsiteY16" fmla="*/ 171450 h 120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057400" h="1200150">
                    <a:moveTo>
                      <a:pt x="1971675" y="1200150"/>
                    </a:moveTo>
                    <a:cubicBezTo>
                      <a:pt x="1491615" y="1200150"/>
                      <a:pt x="1251585" y="1148715"/>
                      <a:pt x="1011555" y="1105853"/>
                    </a:cubicBezTo>
                    <a:cubicBezTo>
                      <a:pt x="771525" y="1054418"/>
                      <a:pt x="548640" y="1011555"/>
                      <a:pt x="85725" y="1011555"/>
                    </a:cubicBezTo>
                    <a:cubicBezTo>
                      <a:pt x="34290" y="1011555"/>
                      <a:pt x="0" y="977265"/>
                      <a:pt x="0" y="925830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cubicBezTo>
                      <a:pt x="565785" y="0"/>
                      <a:pt x="805815" y="51435"/>
                      <a:pt x="1045845" y="94298"/>
                    </a:cubicBezTo>
                    <a:cubicBezTo>
                      <a:pt x="1285875" y="145733"/>
                      <a:pt x="1508760" y="188595"/>
                      <a:pt x="1971675" y="188595"/>
                    </a:cubicBezTo>
                    <a:cubicBezTo>
                      <a:pt x="2023110" y="188595"/>
                      <a:pt x="2057400" y="222885"/>
                      <a:pt x="2057400" y="274320"/>
                    </a:cubicBezTo>
                    <a:lnTo>
                      <a:pt x="2057400" y="1114425"/>
                    </a:lnTo>
                    <a:cubicBezTo>
                      <a:pt x="2057400" y="1165860"/>
                      <a:pt x="2023110" y="1200150"/>
                      <a:pt x="1971675" y="1200150"/>
                    </a:cubicBezTo>
                    <a:close/>
                    <a:moveTo>
                      <a:pt x="171450" y="840105"/>
                    </a:moveTo>
                    <a:cubicBezTo>
                      <a:pt x="591503" y="848678"/>
                      <a:pt x="822960" y="891540"/>
                      <a:pt x="1045845" y="934403"/>
                    </a:cubicBezTo>
                    <a:cubicBezTo>
                      <a:pt x="1268730" y="977265"/>
                      <a:pt x="1483043" y="1020128"/>
                      <a:pt x="1885950" y="1028700"/>
                    </a:cubicBezTo>
                    <a:lnTo>
                      <a:pt x="1885950" y="360045"/>
                    </a:lnTo>
                    <a:cubicBezTo>
                      <a:pt x="1465898" y="351473"/>
                      <a:pt x="1234440" y="308610"/>
                      <a:pt x="1011555" y="265748"/>
                    </a:cubicBezTo>
                    <a:cubicBezTo>
                      <a:pt x="788670" y="222885"/>
                      <a:pt x="574358" y="180023"/>
                      <a:pt x="171450" y="17145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6" name="Freeform: Shape 1275">
                <a:extLst>
                  <a:ext uri="{FF2B5EF4-FFF2-40B4-BE49-F238E27FC236}">
                    <a16:creationId xmlns:a16="http://schemas.microsoft.com/office/drawing/2014/main" id="{9D79528F-527F-5AC6-7833-2C157F02427D}"/>
                  </a:ext>
                </a:extLst>
              </p:cNvPr>
              <p:cNvSpPr/>
              <p:nvPr/>
            </p:nvSpPr>
            <p:spPr>
              <a:xfrm>
                <a:off x="-3544587" y="3675097"/>
                <a:ext cx="2057400" cy="1200150"/>
              </a:xfrm>
              <a:custGeom>
                <a:avLst/>
                <a:gdLst>
                  <a:gd name="connsiteX0" fmla="*/ 1971675 w 2057400"/>
                  <a:gd name="connsiteY0" fmla="*/ 1200150 h 1200150"/>
                  <a:gd name="connsiteX1" fmla="*/ 1011555 w 2057400"/>
                  <a:gd name="connsiteY1" fmla="*/ 1105853 h 1200150"/>
                  <a:gd name="connsiteX2" fmla="*/ 85725 w 2057400"/>
                  <a:gd name="connsiteY2" fmla="*/ 1011555 h 1200150"/>
                  <a:gd name="connsiteX3" fmla="*/ 0 w 2057400"/>
                  <a:gd name="connsiteY3" fmla="*/ 925830 h 1200150"/>
                  <a:gd name="connsiteX4" fmla="*/ 0 w 2057400"/>
                  <a:gd name="connsiteY4" fmla="*/ 85725 h 1200150"/>
                  <a:gd name="connsiteX5" fmla="*/ 85725 w 2057400"/>
                  <a:gd name="connsiteY5" fmla="*/ 0 h 1200150"/>
                  <a:gd name="connsiteX6" fmla="*/ 437198 w 2057400"/>
                  <a:gd name="connsiteY6" fmla="*/ 8573 h 1200150"/>
                  <a:gd name="connsiteX7" fmla="*/ 514350 w 2057400"/>
                  <a:gd name="connsiteY7" fmla="*/ 102870 h 1200150"/>
                  <a:gd name="connsiteX8" fmla="*/ 420053 w 2057400"/>
                  <a:gd name="connsiteY8" fmla="*/ 180023 h 1200150"/>
                  <a:gd name="connsiteX9" fmla="*/ 171450 w 2057400"/>
                  <a:gd name="connsiteY9" fmla="*/ 171450 h 1200150"/>
                  <a:gd name="connsiteX10" fmla="*/ 171450 w 2057400"/>
                  <a:gd name="connsiteY10" fmla="*/ 840105 h 1200150"/>
                  <a:gd name="connsiteX11" fmla="*/ 1045845 w 2057400"/>
                  <a:gd name="connsiteY11" fmla="*/ 934403 h 1200150"/>
                  <a:gd name="connsiteX12" fmla="*/ 1885950 w 2057400"/>
                  <a:gd name="connsiteY12" fmla="*/ 1028700 h 1200150"/>
                  <a:gd name="connsiteX13" fmla="*/ 1885950 w 2057400"/>
                  <a:gd name="connsiteY13" fmla="*/ 771525 h 1200150"/>
                  <a:gd name="connsiteX14" fmla="*/ 1971675 w 2057400"/>
                  <a:gd name="connsiteY14" fmla="*/ 685800 h 1200150"/>
                  <a:gd name="connsiteX15" fmla="*/ 2057400 w 2057400"/>
                  <a:gd name="connsiteY15" fmla="*/ 771525 h 1200150"/>
                  <a:gd name="connsiteX16" fmla="*/ 2057400 w 2057400"/>
                  <a:gd name="connsiteY16" fmla="*/ 1114425 h 1200150"/>
                  <a:gd name="connsiteX17" fmla="*/ 1971675 w 2057400"/>
                  <a:gd name="connsiteY17" fmla="*/ 1200150 h 1200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057400" h="1200150">
                    <a:moveTo>
                      <a:pt x="1971675" y="1200150"/>
                    </a:moveTo>
                    <a:cubicBezTo>
                      <a:pt x="1491615" y="1200150"/>
                      <a:pt x="1251585" y="1148715"/>
                      <a:pt x="1011555" y="1105853"/>
                    </a:cubicBezTo>
                    <a:cubicBezTo>
                      <a:pt x="771525" y="1054418"/>
                      <a:pt x="548640" y="1011555"/>
                      <a:pt x="85725" y="1011555"/>
                    </a:cubicBezTo>
                    <a:cubicBezTo>
                      <a:pt x="34290" y="1011555"/>
                      <a:pt x="0" y="977265"/>
                      <a:pt x="0" y="925830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cubicBezTo>
                      <a:pt x="214313" y="0"/>
                      <a:pt x="325755" y="0"/>
                      <a:pt x="437198" y="8573"/>
                    </a:cubicBezTo>
                    <a:cubicBezTo>
                      <a:pt x="488633" y="8573"/>
                      <a:pt x="522923" y="51435"/>
                      <a:pt x="514350" y="102870"/>
                    </a:cubicBezTo>
                    <a:cubicBezTo>
                      <a:pt x="514350" y="145733"/>
                      <a:pt x="471488" y="188595"/>
                      <a:pt x="420053" y="180023"/>
                    </a:cubicBezTo>
                    <a:cubicBezTo>
                      <a:pt x="342900" y="171450"/>
                      <a:pt x="265748" y="171450"/>
                      <a:pt x="171450" y="171450"/>
                    </a:cubicBezTo>
                    <a:lnTo>
                      <a:pt x="171450" y="840105"/>
                    </a:lnTo>
                    <a:cubicBezTo>
                      <a:pt x="591503" y="848678"/>
                      <a:pt x="822960" y="891540"/>
                      <a:pt x="1045845" y="934403"/>
                    </a:cubicBezTo>
                    <a:cubicBezTo>
                      <a:pt x="1268730" y="977265"/>
                      <a:pt x="1483043" y="1020128"/>
                      <a:pt x="1885950" y="1028700"/>
                    </a:cubicBezTo>
                    <a:lnTo>
                      <a:pt x="1885950" y="771525"/>
                    </a:lnTo>
                    <a:cubicBezTo>
                      <a:pt x="1885950" y="720090"/>
                      <a:pt x="1920240" y="685800"/>
                      <a:pt x="1971675" y="685800"/>
                    </a:cubicBezTo>
                    <a:cubicBezTo>
                      <a:pt x="2023110" y="685800"/>
                      <a:pt x="2057400" y="720090"/>
                      <a:pt x="2057400" y="771525"/>
                    </a:cubicBezTo>
                    <a:lnTo>
                      <a:pt x="2057400" y="1114425"/>
                    </a:lnTo>
                    <a:cubicBezTo>
                      <a:pt x="2057400" y="1165860"/>
                      <a:pt x="2023110" y="1200150"/>
                      <a:pt x="1971675" y="120015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7" name="Freeform: Shape 1276">
                <a:extLst>
                  <a:ext uri="{FF2B5EF4-FFF2-40B4-BE49-F238E27FC236}">
                    <a16:creationId xmlns:a16="http://schemas.microsoft.com/office/drawing/2014/main" id="{8E58E04A-C79A-15AA-5FBB-A129864E285B}"/>
                  </a:ext>
                </a:extLst>
              </p:cNvPr>
              <p:cNvSpPr/>
              <p:nvPr/>
            </p:nvSpPr>
            <p:spPr>
              <a:xfrm>
                <a:off x="-6116337" y="2817847"/>
                <a:ext cx="4286250" cy="3086100"/>
              </a:xfrm>
              <a:custGeom>
                <a:avLst/>
                <a:gdLst>
                  <a:gd name="connsiteX0" fmla="*/ 4200525 w 4286250"/>
                  <a:gd name="connsiteY0" fmla="*/ 3086100 h 3086100"/>
                  <a:gd name="connsiteX1" fmla="*/ 85725 w 4286250"/>
                  <a:gd name="connsiteY1" fmla="*/ 3086100 h 3086100"/>
                  <a:gd name="connsiteX2" fmla="*/ 0 w 4286250"/>
                  <a:gd name="connsiteY2" fmla="*/ 3000375 h 3086100"/>
                  <a:gd name="connsiteX3" fmla="*/ 0 w 4286250"/>
                  <a:gd name="connsiteY3" fmla="*/ 85725 h 3086100"/>
                  <a:gd name="connsiteX4" fmla="*/ 85725 w 4286250"/>
                  <a:gd name="connsiteY4" fmla="*/ 0 h 3086100"/>
                  <a:gd name="connsiteX5" fmla="*/ 4200525 w 4286250"/>
                  <a:gd name="connsiteY5" fmla="*/ 0 h 3086100"/>
                  <a:gd name="connsiteX6" fmla="*/ 4286250 w 4286250"/>
                  <a:gd name="connsiteY6" fmla="*/ 85725 h 3086100"/>
                  <a:gd name="connsiteX7" fmla="*/ 4286250 w 4286250"/>
                  <a:gd name="connsiteY7" fmla="*/ 514350 h 3086100"/>
                  <a:gd name="connsiteX8" fmla="*/ 4200525 w 4286250"/>
                  <a:gd name="connsiteY8" fmla="*/ 600075 h 3086100"/>
                  <a:gd name="connsiteX9" fmla="*/ 4114800 w 4286250"/>
                  <a:gd name="connsiteY9" fmla="*/ 514350 h 3086100"/>
                  <a:gd name="connsiteX10" fmla="*/ 4114800 w 4286250"/>
                  <a:gd name="connsiteY10" fmla="*/ 171450 h 3086100"/>
                  <a:gd name="connsiteX11" fmla="*/ 171450 w 4286250"/>
                  <a:gd name="connsiteY11" fmla="*/ 171450 h 3086100"/>
                  <a:gd name="connsiteX12" fmla="*/ 171450 w 4286250"/>
                  <a:gd name="connsiteY12" fmla="*/ 2914650 h 3086100"/>
                  <a:gd name="connsiteX13" fmla="*/ 4114800 w 4286250"/>
                  <a:gd name="connsiteY13" fmla="*/ 2914650 h 3086100"/>
                  <a:gd name="connsiteX14" fmla="*/ 4114800 w 4286250"/>
                  <a:gd name="connsiteY14" fmla="*/ 2228850 h 3086100"/>
                  <a:gd name="connsiteX15" fmla="*/ 4200525 w 4286250"/>
                  <a:gd name="connsiteY15" fmla="*/ 2143125 h 3086100"/>
                  <a:gd name="connsiteX16" fmla="*/ 4286250 w 4286250"/>
                  <a:gd name="connsiteY16" fmla="*/ 2228850 h 3086100"/>
                  <a:gd name="connsiteX17" fmla="*/ 4286250 w 4286250"/>
                  <a:gd name="connsiteY17" fmla="*/ 3000375 h 3086100"/>
                  <a:gd name="connsiteX18" fmla="*/ 4200525 w 4286250"/>
                  <a:gd name="connsiteY18" fmla="*/ 3086100 h 3086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286250" h="3086100">
                    <a:moveTo>
                      <a:pt x="4200525" y="3086100"/>
                    </a:moveTo>
                    <a:lnTo>
                      <a:pt x="85725" y="3086100"/>
                    </a:lnTo>
                    <a:cubicBezTo>
                      <a:pt x="34290" y="3086100"/>
                      <a:pt x="0" y="3051810"/>
                      <a:pt x="0" y="3000375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lnTo>
                      <a:pt x="4200525" y="0"/>
                    </a:lnTo>
                    <a:cubicBezTo>
                      <a:pt x="4251960" y="0"/>
                      <a:pt x="4286250" y="34290"/>
                      <a:pt x="4286250" y="85725"/>
                    </a:cubicBezTo>
                    <a:lnTo>
                      <a:pt x="4286250" y="514350"/>
                    </a:lnTo>
                    <a:cubicBezTo>
                      <a:pt x="4286250" y="565785"/>
                      <a:pt x="4251960" y="600075"/>
                      <a:pt x="4200525" y="600075"/>
                    </a:cubicBezTo>
                    <a:cubicBezTo>
                      <a:pt x="4149090" y="600075"/>
                      <a:pt x="4114800" y="565785"/>
                      <a:pt x="4114800" y="514350"/>
                    </a:cubicBezTo>
                    <a:lnTo>
                      <a:pt x="4114800" y="171450"/>
                    </a:lnTo>
                    <a:lnTo>
                      <a:pt x="171450" y="171450"/>
                    </a:lnTo>
                    <a:lnTo>
                      <a:pt x="171450" y="2914650"/>
                    </a:lnTo>
                    <a:lnTo>
                      <a:pt x="4114800" y="2914650"/>
                    </a:lnTo>
                    <a:lnTo>
                      <a:pt x="4114800" y="2228850"/>
                    </a:lnTo>
                    <a:cubicBezTo>
                      <a:pt x="4114800" y="2177415"/>
                      <a:pt x="4149090" y="2143125"/>
                      <a:pt x="4200525" y="2143125"/>
                    </a:cubicBezTo>
                    <a:cubicBezTo>
                      <a:pt x="4251960" y="2143125"/>
                      <a:pt x="4286250" y="2177415"/>
                      <a:pt x="4286250" y="2228850"/>
                    </a:cubicBezTo>
                    <a:lnTo>
                      <a:pt x="4286250" y="3000375"/>
                    </a:lnTo>
                    <a:cubicBezTo>
                      <a:pt x="4286250" y="3051810"/>
                      <a:pt x="4251960" y="3086100"/>
                      <a:pt x="4200525" y="308610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8" name="Freeform: Shape 1277">
                <a:extLst>
                  <a:ext uri="{FF2B5EF4-FFF2-40B4-BE49-F238E27FC236}">
                    <a16:creationId xmlns:a16="http://schemas.microsoft.com/office/drawing/2014/main" id="{1860253F-4D6B-E131-6E28-62C3B7D699A7}"/>
                  </a:ext>
                </a:extLst>
              </p:cNvPr>
              <p:cNvSpPr/>
              <p:nvPr/>
            </p:nvSpPr>
            <p:spPr>
              <a:xfrm>
                <a:off x="-6116337" y="2817847"/>
                <a:ext cx="4286250" cy="1543050"/>
              </a:xfrm>
              <a:custGeom>
                <a:avLst/>
                <a:gdLst>
                  <a:gd name="connsiteX0" fmla="*/ 2400300 w 4286250"/>
                  <a:gd name="connsiteY0" fmla="*/ 1543050 h 1543050"/>
                  <a:gd name="connsiteX1" fmla="*/ 1628775 w 4286250"/>
                  <a:gd name="connsiteY1" fmla="*/ 1543050 h 1543050"/>
                  <a:gd name="connsiteX2" fmla="*/ 1603058 w 4286250"/>
                  <a:gd name="connsiteY2" fmla="*/ 1534478 h 1543050"/>
                  <a:gd name="connsiteX3" fmla="*/ 60008 w 4286250"/>
                  <a:gd name="connsiteY3" fmla="*/ 1020128 h 1543050"/>
                  <a:gd name="connsiteX4" fmla="*/ 0 w 4286250"/>
                  <a:gd name="connsiteY4" fmla="*/ 942975 h 1543050"/>
                  <a:gd name="connsiteX5" fmla="*/ 0 w 4286250"/>
                  <a:gd name="connsiteY5" fmla="*/ 85725 h 1543050"/>
                  <a:gd name="connsiteX6" fmla="*/ 85725 w 4286250"/>
                  <a:gd name="connsiteY6" fmla="*/ 0 h 1543050"/>
                  <a:gd name="connsiteX7" fmla="*/ 4200525 w 4286250"/>
                  <a:gd name="connsiteY7" fmla="*/ 0 h 1543050"/>
                  <a:gd name="connsiteX8" fmla="*/ 4286250 w 4286250"/>
                  <a:gd name="connsiteY8" fmla="*/ 85725 h 1543050"/>
                  <a:gd name="connsiteX9" fmla="*/ 4286250 w 4286250"/>
                  <a:gd name="connsiteY9" fmla="*/ 514350 h 1543050"/>
                  <a:gd name="connsiteX10" fmla="*/ 4200525 w 4286250"/>
                  <a:gd name="connsiteY10" fmla="*/ 600075 h 1543050"/>
                  <a:gd name="connsiteX11" fmla="*/ 4114800 w 4286250"/>
                  <a:gd name="connsiteY11" fmla="*/ 514350 h 1543050"/>
                  <a:gd name="connsiteX12" fmla="*/ 4114800 w 4286250"/>
                  <a:gd name="connsiteY12" fmla="*/ 171450 h 1543050"/>
                  <a:gd name="connsiteX13" fmla="*/ 171450 w 4286250"/>
                  <a:gd name="connsiteY13" fmla="*/ 171450 h 1543050"/>
                  <a:gd name="connsiteX14" fmla="*/ 171450 w 4286250"/>
                  <a:gd name="connsiteY14" fmla="*/ 882968 h 1543050"/>
                  <a:gd name="connsiteX15" fmla="*/ 1645920 w 4286250"/>
                  <a:gd name="connsiteY15" fmla="*/ 1371600 h 1543050"/>
                  <a:gd name="connsiteX16" fmla="*/ 2400300 w 4286250"/>
                  <a:gd name="connsiteY16" fmla="*/ 1371600 h 1543050"/>
                  <a:gd name="connsiteX17" fmla="*/ 2486025 w 4286250"/>
                  <a:gd name="connsiteY17" fmla="*/ 1457325 h 1543050"/>
                  <a:gd name="connsiteX18" fmla="*/ 2400300 w 4286250"/>
                  <a:gd name="connsiteY18" fmla="*/ 1543050 h 1543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286250" h="1543050">
                    <a:moveTo>
                      <a:pt x="2400300" y="1543050"/>
                    </a:moveTo>
                    <a:lnTo>
                      <a:pt x="1628775" y="1543050"/>
                    </a:lnTo>
                    <a:cubicBezTo>
                      <a:pt x="1620203" y="1543050"/>
                      <a:pt x="1611630" y="1543050"/>
                      <a:pt x="1603058" y="1534478"/>
                    </a:cubicBezTo>
                    <a:lnTo>
                      <a:pt x="60008" y="1020128"/>
                    </a:lnTo>
                    <a:cubicBezTo>
                      <a:pt x="25718" y="1011555"/>
                      <a:pt x="0" y="977265"/>
                      <a:pt x="0" y="942975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lnTo>
                      <a:pt x="4200525" y="0"/>
                    </a:lnTo>
                    <a:cubicBezTo>
                      <a:pt x="4251960" y="0"/>
                      <a:pt x="4286250" y="34290"/>
                      <a:pt x="4286250" y="85725"/>
                    </a:cubicBezTo>
                    <a:lnTo>
                      <a:pt x="4286250" y="514350"/>
                    </a:lnTo>
                    <a:cubicBezTo>
                      <a:pt x="4286250" y="565785"/>
                      <a:pt x="4251960" y="600075"/>
                      <a:pt x="4200525" y="600075"/>
                    </a:cubicBezTo>
                    <a:cubicBezTo>
                      <a:pt x="4149090" y="600075"/>
                      <a:pt x="4114800" y="565785"/>
                      <a:pt x="4114800" y="514350"/>
                    </a:cubicBezTo>
                    <a:lnTo>
                      <a:pt x="4114800" y="171450"/>
                    </a:lnTo>
                    <a:lnTo>
                      <a:pt x="171450" y="171450"/>
                    </a:lnTo>
                    <a:lnTo>
                      <a:pt x="171450" y="882968"/>
                    </a:lnTo>
                    <a:lnTo>
                      <a:pt x="1645920" y="1371600"/>
                    </a:lnTo>
                    <a:lnTo>
                      <a:pt x="2400300" y="1371600"/>
                    </a:lnTo>
                    <a:cubicBezTo>
                      <a:pt x="2451735" y="1371600"/>
                      <a:pt x="2486025" y="1405890"/>
                      <a:pt x="2486025" y="1457325"/>
                    </a:cubicBezTo>
                    <a:cubicBezTo>
                      <a:pt x="2486025" y="1508760"/>
                      <a:pt x="2451735" y="1543050"/>
                      <a:pt x="2400300" y="1543050"/>
                    </a:cubicBez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9" name="Freeform: Shape 1278">
                <a:extLst>
                  <a:ext uri="{FF2B5EF4-FFF2-40B4-BE49-F238E27FC236}">
                    <a16:creationId xmlns:a16="http://schemas.microsoft.com/office/drawing/2014/main" id="{95D1EAA3-F6EF-4E1C-FF8C-492C54DB43EA}"/>
                  </a:ext>
                </a:extLst>
              </p:cNvPr>
              <p:cNvSpPr/>
              <p:nvPr/>
            </p:nvSpPr>
            <p:spPr>
              <a:xfrm>
                <a:off x="-4916187" y="2303497"/>
                <a:ext cx="1885950" cy="685800"/>
              </a:xfrm>
              <a:custGeom>
                <a:avLst/>
                <a:gdLst>
                  <a:gd name="connsiteX0" fmla="*/ 1800225 w 1885950"/>
                  <a:gd name="connsiteY0" fmla="*/ 685800 h 685800"/>
                  <a:gd name="connsiteX1" fmla="*/ 85725 w 1885950"/>
                  <a:gd name="connsiteY1" fmla="*/ 685800 h 685800"/>
                  <a:gd name="connsiteX2" fmla="*/ 0 w 1885950"/>
                  <a:gd name="connsiteY2" fmla="*/ 600075 h 685800"/>
                  <a:gd name="connsiteX3" fmla="*/ 0 w 1885950"/>
                  <a:gd name="connsiteY3" fmla="*/ 85725 h 685800"/>
                  <a:gd name="connsiteX4" fmla="*/ 85725 w 1885950"/>
                  <a:gd name="connsiteY4" fmla="*/ 0 h 685800"/>
                  <a:gd name="connsiteX5" fmla="*/ 1800225 w 1885950"/>
                  <a:gd name="connsiteY5" fmla="*/ 0 h 685800"/>
                  <a:gd name="connsiteX6" fmla="*/ 1885950 w 1885950"/>
                  <a:gd name="connsiteY6" fmla="*/ 85725 h 685800"/>
                  <a:gd name="connsiteX7" fmla="*/ 1885950 w 1885950"/>
                  <a:gd name="connsiteY7" fmla="*/ 600075 h 685800"/>
                  <a:gd name="connsiteX8" fmla="*/ 1800225 w 1885950"/>
                  <a:gd name="connsiteY8" fmla="*/ 685800 h 685800"/>
                  <a:gd name="connsiteX9" fmla="*/ 171450 w 1885950"/>
                  <a:gd name="connsiteY9" fmla="*/ 514350 h 685800"/>
                  <a:gd name="connsiteX10" fmla="*/ 1714500 w 1885950"/>
                  <a:gd name="connsiteY10" fmla="*/ 514350 h 685800"/>
                  <a:gd name="connsiteX11" fmla="*/ 1714500 w 1885950"/>
                  <a:gd name="connsiteY11" fmla="*/ 171450 h 685800"/>
                  <a:gd name="connsiteX12" fmla="*/ 171450 w 1885950"/>
                  <a:gd name="connsiteY12" fmla="*/ 171450 h 685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85950" h="685800">
                    <a:moveTo>
                      <a:pt x="1800225" y="685800"/>
                    </a:moveTo>
                    <a:lnTo>
                      <a:pt x="85725" y="685800"/>
                    </a:lnTo>
                    <a:cubicBezTo>
                      <a:pt x="34290" y="685800"/>
                      <a:pt x="0" y="651510"/>
                      <a:pt x="0" y="600075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lnTo>
                      <a:pt x="1800225" y="0"/>
                    </a:lnTo>
                    <a:cubicBezTo>
                      <a:pt x="1851660" y="0"/>
                      <a:pt x="1885950" y="34290"/>
                      <a:pt x="1885950" y="85725"/>
                    </a:cubicBezTo>
                    <a:lnTo>
                      <a:pt x="1885950" y="600075"/>
                    </a:lnTo>
                    <a:cubicBezTo>
                      <a:pt x="1885950" y="651510"/>
                      <a:pt x="1851660" y="685800"/>
                      <a:pt x="1800225" y="685800"/>
                    </a:cubicBezTo>
                    <a:close/>
                    <a:moveTo>
                      <a:pt x="171450" y="514350"/>
                    </a:moveTo>
                    <a:lnTo>
                      <a:pt x="1714500" y="514350"/>
                    </a:lnTo>
                    <a:lnTo>
                      <a:pt x="1714500" y="171450"/>
                    </a:lnTo>
                    <a:lnTo>
                      <a:pt x="171450" y="171450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0" name="Freeform: Shape 1279">
                <a:extLst>
                  <a:ext uri="{FF2B5EF4-FFF2-40B4-BE49-F238E27FC236}">
                    <a16:creationId xmlns:a16="http://schemas.microsoft.com/office/drawing/2014/main" id="{97781BDC-9214-959B-CB3A-D5923FD1F894}"/>
                  </a:ext>
                </a:extLst>
              </p:cNvPr>
              <p:cNvSpPr/>
              <p:nvPr/>
            </p:nvSpPr>
            <p:spPr>
              <a:xfrm>
                <a:off x="-4316112" y="4189447"/>
                <a:ext cx="685800" cy="514350"/>
              </a:xfrm>
              <a:custGeom>
                <a:avLst/>
                <a:gdLst>
                  <a:gd name="connsiteX0" fmla="*/ 600075 w 685800"/>
                  <a:gd name="connsiteY0" fmla="*/ 514350 h 514350"/>
                  <a:gd name="connsiteX1" fmla="*/ 85725 w 685800"/>
                  <a:gd name="connsiteY1" fmla="*/ 514350 h 514350"/>
                  <a:gd name="connsiteX2" fmla="*/ 0 w 685800"/>
                  <a:gd name="connsiteY2" fmla="*/ 428625 h 514350"/>
                  <a:gd name="connsiteX3" fmla="*/ 0 w 685800"/>
                  <a:gd name="connsiteY3" fmla="*/ 85725 h 514350"/>
                  <a:gd name="connsiteX4" fmla="*/ 85725 w 685800"/>
                  <a:gd name="connsiteY4" fmla="*/ 0 h 514350"/>
                  <a:gd name="connsiteX5" fmla="*/ 600075 w 685800"/>
                  <a:gd name="connsiteY5" fmla="*/ 0 h 514350"/>
                  <a:gd name="connsiteX6" fmla="*/ 685800 w 685800"/>
                  <a:gd name="connsiteY6" fmla="*/ 85725 h 514350"/>
                  <a:gd name="connsiteX7" fmla="*/ 685800 w 685800"/>
                  <a:gd name="connsiteY7" fmla="*/ 428625 h 514350"/>
                  <a:gd name="connsiteX8" fmla="*/ 600075 w 685800"/>
                  <a:gd name="connsiteY8" fmla="*/ 514350 h 514350"/>
                  <a:gd name="connsiteX9" fmla="*/ 171450 w 685800"/>
                  <a:gd name="connsiteY9" fmla="*/ 342900 h 514350"/>
                  <a:gd name="connsiteX10" fmla="*/ 514350 w 685800"/>
                  <a:gd name="connsiteY10" fmla="*/ 342900 h 514350"/>
                  <a:gd name="connsiteX11" fmla="*/ 514350 w 685800"/>
                  <a:gd name="connsiteY11" fmla="*/ 171450 h 514350"/>
                  <a:gd name="connsiteX12" fmla="*/ 171450 w 685800"/>
                  <a:gd name="connsiteY12" fmla="*/ 171450 h 5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685800" h="514350">
                    <a:moveTo>
                      <a:pt x="600075" y="514350"/>
                    </a:moveTo>
                    <a:lnTo>
                      <a:pt x="85725" y="514350"/>
                    </a:lnTo>
                    <a:cubicBezTo>
                      <a:pt x="34290" y="514350"/>
                      <a:pt x="0" y="480060"/>
                      <a:pt x="0" y="428625"/>
                    </a:cubicBezTo>
                    <a:lnTo>
                      <a:pt x="0" y="85725"/>
                    </a:lnTo>
                    <a:cubicBezTo>
                      <a:pt x="0" y="34290"/>
                      <a:pt x="34290" y="0"/>
                      <a:pt x="85725" y="0"/>
                    </a:cubicBezTo>
                    <a:lnTo>
                      <a:pt x="600075" y="0"/>
                    </a:lnTo>
                    <a:cubicBezTo>
                      <a:pt x="651510" y="0"/>
                      <a:pt x="685800" y="34290"/>
                      <a:pt x="685800" y="85725"/>
                    </a:cubicBezTo>
                    <a:lnTo>
                      <a:pt x="685800" y="428625"/>
                    </a:lnTo>
                    <a:cubicBezTo>
                      <a:pt x="685800" y="480060"/>
                      <a:pt x="651510" y="514350"/>
                      <a:pt x="600075" y="514350"/>
                    </a:cubicBezTo>
                    <a:close/>
                    <a:moveTo>
                      <a:pt x="171450" y="342900"/>
                    </a:moveTo>
                    <a:lnTo>
                      <a:pt x="514350" y="342900"/>
                    </a:lnTo>
                    <a:lnTo>
                      <a:pt x="514350" y="171450"/>
                    </a:lnTo>
                    <a:lnTo>
                      <a:pt x="171450" y="171450"/>
                    </a:lnTo>
                    <a:close/>
                  </a:path>
                </a:pathLst>
              </a:custGeom>
              <a:grpFill/>
              <a:ln w="97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sp>
          <p:nvSpPr>
            <p:cNvPr id="1306" name="Freeform: Shape 1305">
              <a:extLst>
                <a:ext uri="{FF2B5EF4-FFF2-40B4-BE49-F238E27FC236}">
                  <a16:creationId xmlns:a16="http://schemas.microsoft.com/office/drawing/2014/main" id="{4F0BBC05-5C49-6F62-1EF4-E7E90E106832}"/>
                </a:ext>
              </a:extLst>
            </p:cNvPr>
            <p:cNvSpPr/>
            <p:nvPr/>
          </p:nvSpPr>
          <p:spPr>
            <a:xfrm>
              <a:off x="4244173" y="8940309"/>
              <a:ext cx="287922" cy="286978"/>
            </a:xfrm>
            <a:custGeom>
              <a:avLst/>
              <a:gdLst>
                <a:gd name="connsiteX0" fmla="*/ 3106962 w 5239290"/>
                <a:gd name="connsiteY0" fmla="*/ 3047577 h 5222131"/>
                <a:gd name="connsiteX1" fmla="*/ 4959797 w 5239290"/>
                <a:gd name="connsiteY1" fmla="*/ 3047577 h 5222131"/>
                <a:gd name="connsiteX2" fmla="*/ 5155819 w 5239290"/>
                <a:gd name="connsiteY2" fmla="*/ 3124465 h 5222131"/>
                <a:gd name="connsiteX3" fmla="*/ 5239290 w 5239290"/>
                <a:gd name="connsiteY3" fmla="*/ 3313520 h 5222131"/>
                <a:gd name="connsiteX4" fmla="*/ 5239290 w 5239290"/>
                <a:gd name="connsiteY4" fmla="*/ 3415166 h 5222131"/>
                <a:gd name="connsiteX5" fmla="*/ 5155819 w 5239290"/>
                <a:gd name="connsiteY5" fmla="*/ 3604222 h 5222131"/>
                <a:gd name="connsiteX6" fmla="*/ 5135921 w 5239290"/>
                <a:gd name="connsiteY6" fmla="*/ 3621210 h 5222131"/>
                <a:gd name="connsiteX7" fmla="*/ 5155819 w 5239290"/>
                <a:gd name="connsiteY7" fmla="*/ 3638198 h 5222131"/>
                <a:gd name="connsiteX8" fmla="*/ 5239290 w 5239290"/>
                <a:gd name="connsiteY8" fmla="*/ 3827253 h 5222131"/>
                <a:gd name="connsiteX9" fmla="*/ 5239290 w 5239290"/>
                <a:gd name="connsiteY9" fmla="*/ 3928899 h 5222131"/>
                <a:gd name="connsiteX10" fmla="*/ 5155780 w 5239290"/>
                <a:gd name="connsiteY10" fmla="*/ 4117915 h 5222131"/>
                <a:gd name="connsiteX11" fmla="*/ 5135882 w 5239290"/>
                <a:gd name="connsiteY11" fmla="*/ 4134913 h 5222131"/>
                <a:gd name="connsiteX12" fmla="*/ 5155780 w 5239290"/>
                <a:gd name="connsiteY12" fmla="*/ 4151901 h 5222131"/>
                <a:gd name="connsiteX13" fmla="*/ 5239252 w 5239290"/>
                <a:gd name="connsiteY13" fmla="*/ 4340957 h 5222131"/>
                <a:gd name="connsiteX14" fmla="*/ 5239252 w 5239290"/>
                <a:gd name="connsiteY14" fmla="*/ 4442563 h 5222131"/>
                <a:gd name="connsiteX15" fmla="*/ 5155740 w 5239290"/>
                <a:gd name="connsiteY15" fmla="*/ 4631579 h 5222131"/>
                <a:gd name="connsiteX16" fmla="*/ 5135842 w 5239290"/>
                <a:gd name="connsiteY16" fmla="*/ 4648577 h 5222131"/>
                <a:gd name="connsiteX17" fmla="*/ 5155740 w 5239290"/>
                <a:gd name="connsiteY17" fmla="*/ 4665566 h 5222131"/>
                <a:gd name="connsiteX18" fmla="*/ 5239252 w 5239290"/>
                <a:gd name="connsiteY18" fmla="*/ 4854582 h 5222131"/>
                <a:gd name="connsiteX19" fmla="*/ 5239252 w 5239290"/>
                <a:gd name="connsiteY19" fmla="*/ 4956188 h 5222131"/>
                <a:gd name="connsiteX20" fmla="*/ 5155701 w 5239290"/>
                <a:gd name="connsiteY20" fmla="*/ 5145165 h 5222131"/>
                <a:gd name="connsiteX21" fmla="*/ 4959759 w 5239290"/>
                <a:gd name="connsiteY21" fmla="*/ 5222132 h 5222131"/>
                <a:gd name="connsiteX22" fmla="*/ 3106923 w 5239290"/>
                <a:gd name="connsiteY22" fmla="*/ 5222132 h 5222131"/>
                <a:gd name="connsiteX23" fmla="*/ 2910901 w 5239290"/>
                <a:gd name="connsiteY23" fmla="*/ 5145204 h 5222131"/>
                <a:gd name="connsiteX24" fmla="*/ 2827440 w 5239290"/>
                <a:gd name="connsiteY24" fmla="*/ 4956188 h 5222131"/>
                <a:gd name="connsiteX25" fmla="*/ 2827440 w 5239290"/>
                <a:gd name="connsiteY25" fmla="*/ 4854582 h 5222131"/>
                <a:gd name="connsiteX26" fmla="*/ 2910901 w 5239290"/>
                <a:gd name="connsiteY26" fmla="*/ 4665526 h 5222131"/>
                <a:gd name="connsiteX27" fmla="*/ 2930809 w 5239290"/>
                <a:gd name="connsiteY27" fmla="*/ 4648538 h 5222131"/>
                <a:gd name="connsiteX28" fmla="*/ 2910941 w 5239290"/>
                <a:gd name="connsiteY28" fmla="*/ 4631540 h 5222131"/>
                <a:gd name="connsiteX29" fmla="*/ 2827479 w 5239290"/>
                <a:gd name="connsiteY29" fmla="*/ 4442524 h 5222131"/>
                <a:gd name="connsiteX30" fmla="*/ 2827479 w 5239290"/>
                <a:gd name="connsiteY30" fmla="*/ 4340918 h 5222131"/>
                <a:gd name="connsiteX31" fmla="*/ 2910941 w 5239290"/>
                <a:gd name="connsiteY31" fmla="*/ 4151862 h 5222131"/>
                <a:gd name="connsiteX32" fmla="*/ 2930839 w 5239290"/>
                <a:gd name="connsiteY32" fmla="*/ 4134874 h 5222131"/>
                <a:gd name="connsiteX33" fmla="*/ 2910980 w 5239290"/>
                <a:gd name="connsiteY33" fmla="*/ 4117876 h 5222131"/>
                <a:gd name="connsiteX34" fmla="*/ 2827518 w 5239290"/>
                <a:gd name="connsiteY34" fmla="*/ 3928860 h 5222131"/>
                <a:gd name="connsiteX35" fmla="*/ 2827518 w 5239290"/>
                <a:gd name="connsiteY35" fmla="*/ 3827214 h 5222131"/>
                <a:gd name="connsiteX36" fmla="*/ 2910980 w 5239290"/>
                <a:gd name="connsiteY36" fmla="*/ 3638159 h 5222131"/>
                <a:gd name="connsiteX37" fmla="*/ 2930878 w 5239290"/>
                <a:gd name="connsiteY37" fmla="*/ 3621170 h 5222131"/>
                <a:gd name="connsiteX38" fmla="*/ 2911019 w 5239290"/>
                <a:gd name="connsiteY38" fmla="*/ 3604212 h 5222131"/>
                <a:gd name="connsiteX39" fmla="*/ 2827557 w 5239290"/>
                <a:gd name="connsiteY39" fmla="*/ 3415156 h 5222131"/>
                <a:gd name="connsiteX40" fmla="*/ 2827557 w 5239290"/>
                <a:gd name="connsiteY40" fmla="*/ 3313511 h 5222131"/>
                <a:gd name="connsiteX41" fmla="*/ 2911019 w 5239290"/>
                <a:gd name="connsiteY41" fmla="*/ 3124465 h 5222131"/>
                <a:gd name="connsiteX42" fmla="*/ 3107040 w 5239290"/>
                <a:gd name="connsiteY42" fmla="*/ 3047577 h 5222131"/>
                <a:gd name="connsiteX43" fmla="*/ 4032674 w 5239290"/>
                <a:gd name="connsiteY43" fmla="*/ 538431 h 5222131"/>
                <a:gd name="connsiteX44" fmla="*/ 4876914 w 5239290"/>
                <a:gd name="connsiteY44" fmla="*/ 888140 h 5222131"/>
                <a:gd name="connsiteX45" fmla="*/ 5226623 w 5239290"/>
                <a:gd name="connsiteY45" fmla="*/ 1732379 h 5222131"/>
                <a:gd name="connsiteX46" fmla="*/ 4876914 w 5239290"/>
                <a:gd name="connsiteY46" fmla="*/ 2576619 h 5222131"/>
                <a:gd name="connsiteX47" fmla="*/ 4032674 w 5239290"/>
                <a:gd name="connsiteY47" fmla="*/ 2926328 h 5222131"/>
                <a:gd name="connsiteX48" fmla="*/ 3188435 w 5239290"/>
                <a:gd name="connsiteY48" fmla="*/ 2576619 h 5222131"/>
                <a:gd name="connsiteX49" fmla="*/ 3073015 w 5239290"/>
                <a:gd name="connsiteY49" fmla="*/ 2442790 h 5222131"/>
                <a:gd name="connsiteX50" fmla="*/ 898441 w 5239290"/>
                <a:gd name="connsiteY50" fmla="*/ 3312325 h 5222131"/>
                <a:gd name="connsiteX51" fmla="*/ 898216 w 5239290"/>
                <a:gd name="connsiteY51" fmla="*/ 3312325 h 5222131"/>
                <a:gd name="connsiteX52" fmla="*/ 830547 w 5239290"/>
                <a:gd name="connsiteY52" fmla="*/ 3325032 h 5222131"/>
                <a:gd name="connsiteX53" fmla="*/ 762701 w 5239290"/>
                <a:gd name="connsiteY53" fmla="*/ 3310915 h 5222131"/>
                <a:gd name="connsiteX54" fmla="*/ 762124 w 5239290"/>
                <a:gd name="connsiteY54" fmla="*/ 3310640 h 5222131"/>
                <a:gd name="connsiteX55" fmla="*/ 704908 w 5239290"/>
                <a:gd name="connsiteY55" fmla="*/ 3271305 h 5222131"/>
                <a:gd name="connsiteX56" fmla="*/ 667326 w 5239290"/>
                <a:gd name="connsiteY56" fmla="*/ 3213247 h 5222131"/>
                <a:gd name="connsiteX57" fmla="*/ 667248 w 5239290"/>
                <a:gd name="connsiteY57" fmla="*/ 3213286 h 5222131"/>
                <a:gd name="connsiteX58" fmla="*/ 12568 w 5239290"/>
                <a:gd name="connsiteY58" fmla="*/ 1575204 h 5222131"/>
                <a:gd name="connsiteX59" fmla="*/ 12568 w 5239290"/>
                <a:gd name="connsiteY59" fmla="*/ 1574969 h 5222131"/>
                <a:gd name="connsiteX60" fmla="*/ 16 w 5239290"/>
                <a:gd name="connsiteY60" fmla="*/ 1507231 h 5222131"/>
                <a:gd name="connsiteX61" fmla="*/ 5680 w 5239290"/>
                <a:gd name="connsiteY61" fmla="*/ 1464868 h 5222131"/>
                <a:gd name="connsiteX62" fmla="*/ 4417 w 5239290"/>
                <a:gd name="connsiteY62" fmla="*/ 1461772 h 5222131"/>
                <a:gd name="connsiteX63" fmla="*/ 14214 w 5239290"/>
                <a:gd name="connsiteY63" fmla="*/ 1438886 h 5222131"/>
                <a:gd name="connsiteX64" fmla="*/ 53518 w 5239290"/>
                <a:gd name="connsiteY64" fmla="*/ 1381710 h 5222131"/>
                <a:gd name="connsiteX65" fmla="*/ 111574 w 5239290"/>
                <a:gd name="connsiteY65" fmla="*/ 1344050 h 5222131"/>
                <a:gd name="connsiteX66" fmla="*/ 3442602 w 5239290"/>
                <a:gd name="connsiteY66" fmla="*/ 12715 h 5222131"/>
                <a:gd name="connsiteX67" fmla="*/ 3510536 w 5239290"/>
                <a:gd name="connsiteY67" fmla="*/ 9 h 5222131"/>
                <a:gd name="connsiteX68" fmla="*/ 3578538 w 5239290"/>
                <a:gd name="connsiteY68" fmla="*/ 14169 h 5222131"/>
                <a:gd name="connsiteX69" fmla="*/ 3601424 w 5239290"/>
                <a:gd name="connsiteY69" fmla="*/ 23966 h 5222131"/>
                <a:gd name="connsiteX70" fmla="*/ 3602648 w 5239290"/>
                <a:gd name="connsiteY70" fmla="*/ 27142 h 5222131"/>
                <a:gd name="connsiteX71" fmla="*/ 3635831 w 5239290"/>
                <a:gd name="connsiteY71" fmla="*/ 53701 h 5222131"/>
                <a:gd name="connsiteX72" fmla="*/ 3673178 w 5239290"/>
                <a:gd name="connsiteY72" fmla="*/ 110609 h 5222131"/>
                <a:gd name="connsiteX73" fmla="*/ 3673256 w 5239290"/>
                <a:gd name="connsiteY73" fmla="*/ 110571 h 5222131"/>
                <a:gd name="connsiteX74" fmla="*/ 3861695 w 5239290"/>
                <a:gd name="connsiteY74" fmla="*/ 550600 h 5222131"/>
                <a:gd name="connsiteX75" fmla="*/ 4032606 w 5239290"/>
                <a:gd name="connsiteY75" fmla="*/ 538430 h 5222131"/>
                <a:gd name="connsiteX76" fmla="*/ 3005346 w 5239290"/>
                <a:gd name="connsiteY76" fmla="*/ 2341105 h 5222131"/>
                <a:gd name="connsiteX77" fmla="*/ 2944535 w 5239290"/>
                <a:gd name="connsiteY77" fmla="*/ 2224421 h 5222131"/>
                <a:gd name="connsiteX78" fmla="*/ 1080335 w 5239290"/>
                <a:gd name="connsiteY78" fmla="*/ 2969582 h 5222131"/>
                <a:gd name="connsiteX79" fmla="*/ 1064718 w 5239290"/>
                <a:gd name="connsiteY79" fmla="*/ 2934450 h 5222131"/>
                <a:gd name="connsiteX80" fmla="*/ 1064071 w 5239290"/>
                <a:gd name="connsiteY80" fmla="*/ 2933147 h 5222131"/>
                <a:gd name="connsiteX81" fmla="*/ 985077 w 5239290"/>
                <a:gd name="connsiteY81" fmla="*/ 2849342 h 5222131"/>
                <a:gd name="connsiteX82" fmla="*/ 876201 w 5239290"/>
                <a:gd name="connsiteY82" fmla="*/ 2846089 h 5222131"/>
                <a:gd name="connsiteX83" fmla="*/ 838933 w 5239290"/>
                <a:gd name="connsiteY83" fmla="*/ 2860050 h 5222131"/>
                <a:gd name="connsiteX84" fmla="*/ 380035 w 5239290"/>
                <a:gd name="connsiteY84" fmla="*/ 1711923 h 5222131"/>
                <a:gd name="connsiteX85" fmla="*/ 417117 w 5239290"/>
                <a:gd name="connsiteY85" fmla="*/ 1697080 h 5222131"/>
                <a:gd name="connsiteX86" fmla="*/ 493574 w 5239290"/>
                <a:gd name="connsiteY86" fmla="*/ 1619732 h 5222131"/>
                <a:gd name="connsiteX87" fmla="*/ 493123 w 5239290"/>
                <a:gd name="connsiteY87" fmla="*/ 1504458 h 5222131"/>
                <a:gd name="connsiteX88" fmla="*/ 478388 w 5239290"/>
                <a:gd name="connsiteY88" fmla="*/ 1467572 h 5222131"/>
                <a:gd name="connsiteX89" fmla="*/ 3267635 w 5239290"/>
                <a:gd name="connsiteY89" fmla="*/ 352752 h 5222131"/>
                <a:gd name="connsiteX90" fmla="*/ 3278079 w 5239290"/>
                <a:gd name="connsiteY90" fmla="*/ 394581 h 5222131"/>
                <a:gd name="connsiteX91" fmla="*/ 3355956 w 5239290"/>
                <a:gd name="connsiteY91" fmla="*/ 475713 h 5222131"/>
                <a:gd name="connsiteX92" fmla="*/ 3464724 w 5239290"/>
                <a:gd name="connsiteY92" fmla="*/ 478966 h 5222131"/>
                <a:gd name="connsiteX93" fmla="*/ 3502267 w 5239290"/>
                <a:gd name="connsiteY93" fmla="*/ 466452 h 5222131"/>
                <a:gd name="connsiteX94" fmla="*/ 3570161 w 5239290"/>
                <a:gd name="connsiteY94" fmla="*/ 631397 h 5222131"/>
                <a:gd name="connsiteX95" fmla="*/ 3741729 w 5239290"/>
                <a:gd name="connsiteY95" fmla="*/ 574222 h 5222131"/>
                <a:gd name="connsiteX96" fmla="*/ 3563234 w 5239290"/>
                <a:gd name="connsiteY96" fmla="*/ 157461 h 5222131"/>
                <a:gd name="connsiteX97" fmla="*/ 3562774 w 5239290"/>
                <a:gd name="connsiteY97" fmla="*/ 156084 h 5222131"/>
                <a:gd name="connsiteX98" fmla="*/ 3550645 w 5239290"/>
                <a:gd name="connsiteY98" fmla="*/ 137599 h 5222131"/>
                <a:gd name="connsiteX99" fmla="*/ 3531658 w 5239290"/>
                <a:gd name="connsiteY99" fmla="*/ 124626 h 5222131"/>
                <a:gd name="connsiteX100" fmla="*/ 3526270 w 5239290"/>
                <a:gd name="connsiteY100" fmla="*/ 122329 h 5222131"/>
                <a:gd name="connsiteX101" fmla="*/ 3509576 w 5239290"/>
                <a:gd name="connsiteY101" fmla="*/ 119421 h 5222131"/>
                <a:gd name="connsiteX102" fmla="*/ 3487081 w 5239290"/>
                <a:gd name="connsiteY102" fmla="*/ 123745 h 5222131"/>
                <a:gd name="connsiteX103" fmla="*/ 156049 w 5239290"/>
                <a:gd name="connsiteY103" fmla="*/ 1455081 h 5222131"/>
                <a:gd name="connsiteX104" fmla="*/ 136837 w 5239290"/>
                <a:gd name="connsiteY104" fmla="*/ 1467445 h 5222131"/>
                <a:gd name="connsiteX105" fmla="*/ 126735 w 5239290"/>
                <a:gd name="connsiteY105" fmla="*/ 1480602 h 5222131"/>
                <a:gd name="connsiteX106" fmla="*/ 124362 w 5239290"/>
                <a:gd name="connsiteY106" fmla="*/ 1486157 h 5222131"/>
                <a:gd name="connsiteX107" fmla="*/ 119387 w 5239290"/>
                <a:gd name="connsiteY107" fmla="*/ 1508701 h 5222131"/>
                <a:gd name="connsiteX108" fmla="*/ 123405 w 5239290"/>
                <a:gd name="connsiteY108" fmla="*/ 1530813 h 5222131"/>
                <a:gd name="connsiteX109" fmla="*/ 123481 w 5239290"/>
                <a:gd name="connsiteY109" fmla="*/ 1530774 h 5222131"/>
                <a:gd name="connsiteX110" fmla="*/ 778201 w 5239290"/>
                <a:gd name="connsiteY110" fmla="*/ 3168856 h 5222131"/>
                <a:gd name="connsiteX111" fmla="*/ 778201 w 5239290"/>
                <a:gd name="connsiteY111" fmla="*/ 3169091 h 5222131"/>
                <a:gd name="connsiteX112" fmla="*/ 790565 w 5239290"/>
                <a:gd name="connsiteY112" fmla="*/ 3188029 h 5222131"/>
                <a:gd name="connsiteX113" fmla="*/ 808895 w 5239290"/>
                <a:gd name="connsiteY113" fmla="*/ 3200667 h 5222131"/>
                <a:gd name="connsiteX114" fmla="*/ 809473 w 5239290"/>
                <a:gd name="connsiteY114" fmla="*/ 3200971 h 5222131"/>
                <a:gd name="connsiteX115" fmla="*/ 831477 w 5239290"/>
                <a:gd name="connsiteY115" fmla="*/ 3205713 h 5222131"/>
                <a:gd name="connsiteX116" fmla="*/ 853942 w 5239290"/>
                <a:gd name="connsiteY116" fmla="*/ 3201500 h 5222131"/>
                <a:gd name="connsiteX117" fmla="*/ 853903 w 5239290"/>
                <a:gd name="connsiteY117" fmla="*/ 3201432 h 5222131"/>
                <a:gd name="connsiteX118" fmla="*/ 3005258 w 5239290"/>
                <a:gd name="connsiteY118" fmla="*/ 2341154 h 5222131"/>
                <a:gd name="connsiteX119" fmla="*/ 2914115 w 5239290"/>
                <a:gd name="connsiteY119" fmla="*/ 2150747 h 5222131"/>
                <a:gd name="connsiteX120" fmla="*/ 2838716 w 5239290"/>
                <a:gd name="connsiteY120" fmla="*/ 1732379 h 5222131"/>
                <a:gd name="connsiteX121" fmla="*/ 3188425 w 5239290"/>
                <a:gd name="connsiteY121" fmla="*/ 888140 h 5222131"/>
                <a:gd name="connsiteX122" fmla="*/ 3497760 w 5239290"/>
                <a:gd name="connsiteY122" fmla="*/ 664677 h 5222131"/>
                <a:gd name="connsiteX123" fmla="*/ 3456397 w 5239290"/>
                <a:gd name="connsiteY123" fmla="*/ 564138 h 5222131"/>
                <a:gd name="connsiteX124" fmla="*/ 3322911 w 5239290"/>
                <a:gd name="connsiteY124" fmla="*/ 548065 h 5222131"/>
                <a:gd name="connsiteX125" fmla="*/ 3220883 w 5239290"/>
                <a:gd name="connsiteY125" fmla="*/ 457212 h 5222131"/>
                <a:gd name="connsiteX126" fmla="*/ 578789 w 5239290"/>
                <a:gd name="connsiteY126" fmla="*/ 1513247 h 5222131"/>
                <a:gd name="connsiteX127" fmla="*/ 567572 w 5239290"/>
                <a:gd name="connsiteY127" fmla="*/ 1649378 h 5222131"/>
                <a:gd name="connsiteX128" fmla="*/ 482229 w 5239290"/>
                <a:gd name="connsiteY128" fmla="*/ 1752787 h 5222131"/>
                <a:gd name="connsiteX129" fmla="*/ 885097 w 5239290"/>
                <a:gd name="connsiteY129" fmla="*/ 2760717 h 5222131"/>
                <a:gd name="connsiteX130" fmla="*/ 1018201 w 5239290"/>
                <a:gd name="connsiteY130" fmla="*/ 2776823 h 5222131"/>
                <a:gd name="connsiteX131" fmla="*/ 1120229 w 5239290"/>
                <a:gd name="connsiteY131" fmla="*/ 2867682 h 5222131"/>
                <a:gd name="connsiteX132" fmla="*/ 2914086 w 5239290"/>
                <a:gd name="connsiteY132" fmla="*/ 2150649 h 5222131"/>
                <a:gd name="connsiteX133" fmla="*/ 4792119 w 5239290"/>
                <a:gd name="connsiteY133" fmla="*/ 972934 h 5222131"/>
                <a:gd name="connsiteX134" fmla="*/ 4032655 w 5239290"/>
                <a:gd name="connsiteY134" fmla="*/ 658358 h 5222131"/>
                <a:gd name="connsiteX135" fmla="*/ 3273171 w 5239290"/>
                <a:gd name="connsiteY135" fmla="*/ 972934 h 5222131"/>
                <a:gd name="connsiteX136" fmla="*/ 2958594 w 5239290"/>
                <a:gd name="connsiteY136" fmla="*/ 1732409 h 5222131"/>
                <a:gd name="connsiteX137" fmla="*/ 3273171 w 5239290"/>
                <a:gd name="connsiteY137" fmla="*/ 2491883 h 5222131"/>
                <a:gd name="connsiteX138" fmla="*/ 4032655 w 5239290"/>
                <a:gd name="connsiteY138" fmla="*/ 2806460 h 5222131"/>
                <a:gd name="connsiteX139" fmla="*/ 4792119 w 5239290"/>
                <a:gd name="connsiteY139" fmla="*/ 2491883 h 5222131"/>
                <a:gd name="connsiteX140" fmla="*/ 5106696 w 5239290"/>
                <a:gd name="connsiteY140" fmla="*/ 1732409 h 5222131"/>
                <a:gd name="connsiteX141" fmla="*/ 4792119 w 5239290"/>
                <a:gd name="connsiteY141" fmla="*/ 972934 h 5222131"/>
                <a:gd name="connsiteX142" fmla="*/ 1967113 w 5239290"/>
                <a:gd name="connsiteY142" fmla="*/ 1311396 h 5222131"/>
                <a:gd name="connsiteX143" fmla="*/ 1985836 w 5239290"/>
                <a:gd name="connsiteY143" fmla="*/ 1258315 h 5222131"/>
                <a:gd name="connsiteX144" fmla="*/ 2038916 w 5239290"/>
                <a:gd name="connsiteY144" fmla="*/ 1277028 h 5222131"/>
                <a:gd name="connsiteX145" fmla="*/ 2077645 w 5239290"/>
                <a:gd name="connsiteY145" fmla="*/ 1358050 h 5222131"/>
                <a:gd name="connsiteX146" fmla="*/ 2139445 w 5239290"/>
                <a:gd name="connsiteY146" fmla="*/ 1352074 h 5222131"/>
                <a:gd name="connsiteX147" fmla="*/ 2305732 w 5239290"/>
                <a:gd name="connsiteY147" fmla="*/ 1448820 h 5222131"/>
                <a:gd name="connsiteX148" fmla="*/ 2294789 w 5239290"/>
                <a:gd name="connsiteY148" fmla="*/ 1504086 h 5222131"/>
                <a:gd name="connsiteX149" fmla="*/ 2239533 w 5239290"/>
                <a:gd name="connsiteY149" fmla="*/ 1493143 h 5222131"/>
                <a:gd name="connsiteX150" fmla="*/ 2135663 w 5239290"/>
                <a:gd name="connsiteY150" fmla="*/ 1431636 h 5222131"/>
                <a:gd name="connsiteX151" fmla="*/ 2070405 w 5239290"/>
                <a:gd name="connsiteY151" fmla="*/ 1444461 h 5222131"/>
                <a:gd name="connsiteX152" fmla="*/ 2019087 w 5239290"/>
                <a:gd name="connsiteY152" fmla="*/ 1483845 h 5222131"/>
                <a:gd name="connsiteX153" fmla="*/ 1998611 w 5239290"/>
                <a:gd name="connsiteY153" fmla="*/ 1579132 h 5222131"/>
                <a:gd name="connsiteX154" fmla="*/ 2173353 w 5239290"/>
                <a:gd name="connsiteY154" fmla="*/ 1623905 h 5222131"/>
                <a:gd name="connsiteX155" fmla="*/ 2418164 w 5239290"/>
                <a:gd name="connsiteY155" fmla="*/ 1709522 h 5222131"/>
                <a:gd name="connsiteX156" fmla="*/ 2422494 w 5239290"/>
                <a:gd name="connsiteY156" fmla="*/ 1723836 h 5222131"/>
                <a:gd name="connsiteX157" fmla="*/ 2368796 w 5239290"/>
                <a:gd name="connsiteY157" fmla="*/ 1898274 h 5222131"/>
                <a:gd name="connsiteX158" fmla="*/ 2345342 w 5239290"/>
                <a:gd name="connsiteY158" fmla="*/ 1918211 h 5222131"/>
                <a:gd name="connsiteX159" fmla="*/ 2387930 w 5239290"/>
                <a:gd name="connsiteY159" fmla="*/ 2007307 h 5222131"/>
                <a:gd name="connsiteX160" fmla="*/ 2369218 w 5239290"/>
                <a:gd name="connsiteY160" fmla="*/ 2060388 h 5222131"/>
                <a:gd name="connsiteX161" fmla="*/ 2316137 w 5239290"/>
                <a:gd name="connsiteY161" fmla="*/ 2041665 h 5222131"/>
                <a:gd name="connsiteX162" fmla="*/ 2273813 w 5239290"/>
                <a:gd name="connsiteY162" fmla="*/ 1953148 h 5222131"/>
                <a:gd name="connsiteX163" fmla="*/ 2190763 w 5239290"/>
                <a:gd name="connsiteY163" fmla="*/ 1960731 h 5222131"/>
                <a:gd name="connsiteX164" fmla="*/ 2049586 w 5239290"/>
                <a:gd name="connsiteY164" fmla="*/ 1864131 h 5222131"/>
                <a:gd name="connsiteX165" fmla="*/ 2067534 w 5239290"/>
                <a:gd name="connsiteY165" fmla="*/ 1810590 h 5222131"/>
                <a:gd name="connsiteX166" fmla="*/ 2121036 w 5239290"/>
                <a:gd name="connsiteY166" fmla="*/ 1828538 h 5222131"/>
                <a:gd name="connsiteX167" fmla="*/ 2199188 w 5239290"/>
                <a:gd name="connsiteY167" fmla="*/ 1881433 h 5222131"/>
                <a:gd name="connsiteX168" fmla="*/ 2259881 w 5239290"/>
                <a:gd name="connsiteY168" fmla="*/ 1874046 h 5222131"/>
                <a:gd name="connsiteX169" fmla="*/ 2312884 w 5239290"/>
                <a:gd name="connsiteY169" fmla="*/ 1841519 h 5222131"/>
                <a:gd name="connsiteX170" fmla="*/ 2344764 w 5239290"/>
                <a:gd name="connsiteY170" fmla="*/ 1741824 h 5222131"/>
                <a:gd name="connsiteX171" fmla="*/ 2188010 w 5239290"/>
                <a:gd name="connsiteY171" fmla="*/ 1702282 h 5222131"/>
                <a:gd name="connsiteX172" fmla="*/ 1928650 w 5239290"/>
                <a:gd name="connsiteY172" fmla="*/ 1617478 h 5222131"/>
                <a:gd name="connsiteX173" fmla="*/ 1923026 w 5239290"/>
                <a:gd name="connsiteY173" fmla="*/ 1605506 h 5222131"/>
                <a:gd name="connsiteX174" fmla="*/ 1956630 w 5239290"/>
                <a:gd name="connsiteY174" fmla="*/ 1434595 h 5222131"/>
                <a:gd name="connsiteX175" fmla="*/ 2004695 w 5239290"/>
                <a:gd name="connsiteY175" fmla="*/ 1390194 h 5222131"/>
                <a:gd name="connsiteX176" fmla="*/ 1967035 w 5239290"/>
                <a:gd name="connsiteY176" fmla="*/ 1311396 h 5222131"/>
                <a:gd name="connsiteX177" fmla="*/ 3972785 w 5239290"/>
                <a:gd name="connsiteY177" fmla="*/ 964704 h 5222131"/>
                <a:gd name="connsiteX178" fmla="*/ 4032723 w 5239290"/>
                <a:gd name="connsiteY178" fmla="*/ 904775 h 5222131"/>
                <a:gd name="connsiteX179" fmla="*/ 4092652 w 5239290"/>
                <a:gd name="connsiteY179" fmla="*/ 964704 h 5222131"/>
                <a:gd name="connsiteX180" fmla="*/ 4092652 w 5239290"/>
                <a:gd name="connsiteY180" fmla="*/ 1149586 h 5222131"/>
                <a:gd name="connsiteX181" fmla="*/ 4157823 w 5239290"/>
                <a:gd name="connsiteY181" fmla="*/ 1168759 h 5222131"/>
                <a:gd name="connsiteX182" fmla="*/ 4408757 w 5239290"/>
                <a:gd name="connsiteY182" fmla="*/ 1479172 h 5222131"/>
                <a:gd name="connsiteX183" fmla="*/ 4358165 w 5239290"/>
                <a:gd name="connsiteY183" fmla="*/ 1547066 h 5222131"/>
                <a:gd name="connsiteX184" fmla="*/ 4290271 w 5239290"/>
                <a:gd name="connsiteY184" fmla="*/ 1496513 h 5222131"/>
                <a:gd name="connsiteX185" fmla="*/ 4115186 w 5239290"/>
                <a:gd name="connsiteY185" fmla="*/ 1280662 h 5222131"/>
                <a:gd name="connsiteX186" fmla="*/ 3989851 w 5239290"/>
                <a:gd name="connsiteY186" fmla="*/ 1259354 h 5222131"/>
                <a:gd name="connsiteX187" fmla="*/ 3876038 w 5239290"/>
                <a:gd name="connsiteY187" fmla="*/ 1286717 h 5222131"/>
                <a:gd name="connsiteX188" fmla="*/ 3775578 w 5239290"/>
                <a:gd name="connsiteY188" fmla="*/ 1446645 h 5222131"/>
                <a:gd name="connsiteX189" fmla="*/ 4051965 w 5239290"/>
                <a:gd name="connsiteY189" fmla="*/ 1684648 h 5222131"/>
                <a:gd name="connsiteX190" fmla="*/ 4387321 w 5239290"/>
                <a:gd name="connsiteY190" fmla="*/ 2023374 h 5222131"/>
                <a:gd name="connsiteX191" fmla="*/ 4184716 w 5239290"/>
                <a:gd name="connsiteY191" fmla="*/ 2286212 h 5222131"/>
                <a:gd name="connsiteX192" fmla="*/ 4092603 w 5239290"/>
                <a:gd name="connsiteY192" fmla="*/ 2306110 h 5222131"/>
                <a:gd name="connsiteX193" fmla="*/ 4092603 w 5239290"/>
                <a:gd name="connsiteY193" fmla="*/ 2500064 h 5222131"/>
                <a:gd name="connsiteX194" fmla="*/ 4032674 w 5239290"/>
                <a:gd name="connsiteY194" fmla="*/ 2559993 h 5222131"/>
                <a:gd name="connsiteX195" fmla="*/ 3972745 w 5239290"/>
                <a:gd name="connsiteY195" fmla="*/ 2500064 h 5222131"/>
                <a:gd name="connsiteX196" fmla="*/ 3972745 w 5239290"/>
                <a:gd name="connsiteY196" fmla="*/ 2300643 h 5222131"/>
                <a:gd name="connsiteX197" fmla="*/ 3871746 w 5239290"/>
                <a:gd name="connsiteY197" fmla="*/ 2269909 h 5222131"/>
                <a:gd name="connsiteX198" fmla="*/ 3662332 w 5239290"/>
                <a:gd name="connsiteY198" fmla="*/ 1977866 h 5222131"/>
                <a:gd name="connsiteX199" fmla="*/ 3721115 w 5239290"/>
                <a:gd name="connsiteY199" fmla="*/ 1917251 h 5222131"/>
                <a:gd name="connsiteX200" fmla="*/ 3781730 w 5239290"/>
                <a:gd name="connsiteY200" fmla="*/ 1976034 h 5222131"/>
                <a:gd name="connsiteX201" fmla="*/ 3919998 w 5239290"/>
                <a:gd name="connsiteY201" fmla="*/ 2160377 h 5222131"/>
                <a:gd name="connsiteX202" fmla="*/ 4024631 w 5239290"/>
                <a:gd name="connsiteY202" fmla="*/ 2187123 h 5222131"/>
                <a:gd name="connsiteX203" fmla="*/ 4032704 w 5239290"/>
                <a:gd name="connsiteY203" fmla="*/ 2186594 h 5222131"/>
                <a:gd name="connsiteX204" fmla="*/ 4047096 w 5239290"/>
                <a:gd name="connsiteY204" fmla="*/ 2188309 h 5222131"/>
                <a:gd name="connsiteX205" fmla="*/ 4144989 w 5239290"/>
                <a:gd name="connsiteY205" fmla="*/ 2173388 h 5222131"/>
                <a:gd name="connsiteX206" fmla="*/ 4268452 w 5239290"/>
                <a:gd name="connsiteY206" fmla="*/ 2012156 h 5222131"/>
                <a:gd name="connsiteX207" fmla="*/ 4023445 w 5239290"/>
                <a:gd name="connsiteY207" fmla="*/ 1800793 h 5222131"/>
                <a:gd name="connsiteX208" fmla="*/ 3656209 w 5239290"/>
                <a:gd name="connsiteY208" fmla="*/ 1443393 h 5222131"/>
                <a:gd name="connsiteX209" fmla="*/ 3822222 w 5239290"/>
                <a:gd name="connsiteY209" fmla="*/ 1179938 h 5222131"/>
                <a:gd name="connsiteX210" fmla="*/ 3972814 w 5239290"/>
                <a:gd name="connsiteY210" fmla="*/ 1140553 h 5222131"/>
                <a:gd name="connsiteX211" fmla="*/ 3972814 w 5239290"/>
                <a:gd name="connsiteY211" fmla="*/ 964665 h 5222131"/>
                <a:gd name="connsiteX212" fmla="*/ 1931550 w 5239290"/>
                <a:gd name="connsiteY212" fmla="*/ 1064626 h 5222131"/>
                <a:gd name="connsiteX213" fmla="*/ 2424277 w 5239290"/>
                <a:gd name="connsiteY213" fmla="*/ 1070670 h 5222131"/>
                <a:gd name="connsiteX214" fmla="*/ 2768520 w 5239290"/>
                <a:gd name="connsiteY214" fmla="*/ 1423485 h 5222131"/>
                <a:gd name="connsiteX215" fmla="*/ 2762436 w 5239290"/>
                <a:gd name="connsiteY215" fmla="*/ 1916213 h 5222131"/>
                <a:gd name="connsiteX216" fmla="*/ 2409621 w 5239290"/>
                <a:gd name="connsiteY216" fmla="*/ 2260416 h 5222131"/>
                <a:gd name="connsiteX217" fmla="*/ 2409582 w 5239290"/>
                <a:gd name="connsiteY217" fmla="*/ 2260337 h 5222131"/>
                <a:gd name="connsiteX218" fmla="*/ 2409435 w 5239290"/>
                <a:gd name="connsiteY218" fmla="*/ 2260416 h 5222131"/>
                <a:gd name="connsiteX219" fmla="*/ 1916903 w 5239290"/>
                <a:gd name="connsiteY219" fmla="*/ 2254332 h 5222131"/>
                <a:gd name="connsiteX220" fmla="*/ 1572778 w 5239290"/>
                <a:gd name="connsiteY220" fmla="*/ 1901556 h 5222131"/>
                <a:gd name="connsiteX221" fmla="*/ 1578823 w 5239290"/>
                <a:gd name="connsiteY221" fmla="*/ 1408789 h 5222131"/>
                <a:gd name="connsiteX222" fmla="*/ 1931599 w 5239290"/>
                <a:gd name="connsiteY222" fmla="*/ 1064586 h 5222131"/>
                <a:gd name="connsiteX223" fmla="*/ 2393054 w 5239290"/>
                <a:gd name="connsiteY223" fmla="*/ 1144031 h 5222131"/>
                <a:gd name="connsiteX224" fmla="*/ 1961176 w 5239290"/>
                <a:gd name="connsiteY224" fmla="*/ 1138604 h 5222131"/>
                <a:gd name="connsiteX225" fmla="*/ 1652106 w 5239290"/>
                <a:gd name="connsiteY225" fmla="*/ 1440062 h 5222131"/>
                <a:gd name="connsiteX226" fmla="*/ 1646668 w 5239290"/>
                <a:gd name="connsiteY226" fmla="*/ 1871900 h 5222131"/>
                <a:gd name="connsiteX227" fmla="*/ 1948087 w 5239290"/>
                <a:gd name="connsiteY227" fmla="*/ 2181010 h 5222131"/>
                <a:gd name="connsiteX228" fmla="*/ 2379161 w 5239290"/>
                <a:gd name="connsiteY228" fmla="*/ 2186830 h 5222131"/>
                <a:gd name="connsiteX229" fmla="*/ 2379926 w 5239290"/>
                <a:gd name="connsiteY229" fmla="*/ 2186438 h 5222131"/>
                <a:gd name="connsiteX230" fmla="*/ 2689035 w 5239290"/>
                <a:gd name="connsiteY230" fmla="*/ 1885019 h 5222131"/>
                <a:gd name="connsiteX231" fmla="*/ 2694473 w 5239290"/>
                <a:gd name="connsiteY231" fmla="*/ 1453141 h 5222131"/>
                <a:gd name="connsiteX232" fmla="*/ 2393015 w 5239290"/>
                <a:gd name="connsiteY232" fmla="*/ 1144031 h 5222131"/>
                <a:gd name="connsiteX233" fmla="*/ 1215329 w 5239290"/>
                <a:gd name="connsiteY233" fmla="*/ 1837943 h 5222131"/>
                <a:gd name="connsiteX234" fmla="*/ 1215486 w 5239290"/>
                <a:gd name="connsiteY234" fmla="*/ 1837875 h 5222131"/>
                <a:gd name="connsiteX235" fmla="*/ 1361983 w 5239290"/>
                <a:gd name="connsiteY235" fmla="*/ 1839589 h 5222131"/>
                <a:gd name="connsiteX236" fmla="*/ 1464471 w 5239290"/>
                <a:gd name="connsiteY236" fmla="*/ 1944644 h 5222131"/>
                <a:gd name="connsiteX237" fmla="*/ 1464393 w 5239290"/>
                <a:gd name="connsiteY237" fmla="*/ 1944683 h 5222131"/>
                <a:gd name="connsiteX238" fmla="*/ 1464471 w 5239290"/>
                <a:gd name="connsiteY238" fmla="*/ 1944879 h 5222131"/>
                <a:gd name="connsiteX239" fmla="*/ 1462707 w 5239290"/>
                <a:gd name="connsiteY239" fmla="*/ 2091376 h 5222131"/>
                <a:gd name="connsiteX240" fmla="*/ 1357653 w 5239290"/>
                <a:gd name="connsiteY240" fmla="*/ 2193903 h 5222131"/>
                <a:gd name="connsiteX241" fmla="*/ 1357427 w 5239290"/>
                <a:gd name="connsiteY241" fmla="*/ 2193942 h 5222131"/>
                <a:gd name="connsiteX242" fmla="*/ 1210970 w 5239290"/>
                <a:gd name="connsiteY242" fmla="*/ 2192179 h 5222131"/>
                <a:gd name="connsiteX243" fmla="*/ 1108403 w 5239290"/>
                <a:gd name="connsiteY243" fmla="*/ 2087124 h 5222131"/>
                <a:gd name="connsiteX244" fmla="*/ 1110167 w 5239290"/>
                <a:gd name="connsiteY244" fmla="*/ 1940471 h 5222131"/>
                <a:gd name="connsiteX245" fmla="*/ 1215222 w 5239290"/>
                <a:gd name="connsiteY245" fmla="*/ 1837904 h 5222131"/>
                <a:gd name="connsiteX246" fmla="*/ 1215261 w 5239290"/>
                <a:gd name="connsiteY246" fmla="*/ 1837983 h 5222131"/>
                <a:gd name="connsiteX247" fmla="*/ 1330760 w 5239290"/>
                <a:gd name="connsiteY247" fmla="*/ 1912999 h 5222131"/>
                <a:gd name="connsiteX248" fmla="*/ 1245720 w 5239290"/>
                <a:gd name="connsiteY248" fmla="*/ 1911500 h 5222131"/>
                <a:gd name="connsiteX249" fmla="*/ 1244956 w 5239290"/>
                <a:gd name="connsiteY249" fmla="*/ 1911883 h 5222131"/>
                <a:gd name="connsiteX250" fmla="*/ 1183606 w 5239290"/>
                <a:gd name="connsiteY250" fmla="*/ 1971665 h 5222131"/>
                <a:gd name="connsiteX251" fmla="*/ 1182460 w 5239290"/>
                <a:gd name="connsiteY251" fmla="*/ 2057429 h 5222131"/>
                <a:gd name="connsiteX252" fmla="*/ 1242232 w 5239290"/>
                <a:gd name="connsiteY252" fmla="*/ 2118779 h 5222131"/>
                <a:gd name="connsiteX253" fmla="*/ 1327272 w 5239290"/>
                <a:gd name="connsiteY253" fmla="*/ 2120268 h 5222131"/>
                <a:gd name="connsiteX254" fmla="*/ 1328075 w 5239290"/>
                <a:gd name="connsiteY254" fmla="*/ 2119886 h 5222131"/>
                <a:gd name="connsiteX255" fmla="*/ 1389425 w 5239290"/>
                <a:gd name="connsiteY255" fmla="*/ 2060143 h 5222131"/>
                <a:gd name="connsiteX256" fmla="*/ 1390914 w 5239290"/>
                <a:gd name="connsiteY256" fmla="*/ 1975103 h 5222131"/>
                <a:gd name="connsiteX257" fmla="*/ 1390532 w 5239290"/>
                <a:gd name="connsiteY257" fmla="*/ 1974300 h 5222131"/>
                <a:gd name="connsiteX258" fmla="*/ 1330789 w 5239290"/>
                <a:gd name="connsiteY258" fmla="*/ 1912960 h 5222131"/>
                <a:gd name="connsiteX259" fmla="*/ 2555304 w 5239290"/>
                <a:gd name="connsiteY259" fmla="*/ 4648460 h 5222131"/>
                <a:gd name="connsiteX260" fmla="*/ 2575202 w 5239290"/>
                <a:gd name="connsiteY260" fmla="*/ 4665448 h 5222131"/>
                <a:gd name="connsiteX261" fmla="*/ 2658704 w 5239290"/>
                <a:gd name="connsiteY261" fmla="*/ 4854464 h 5222131"/>
                <a:gd name="connsiteX262" fmla="*/ 2658704 w 5239290"/>
                <a:gd name="connsiteY262" fmla="*/ 4956149 h 5222131"/>
                <a:gd name="connsiteX263" fmla="*/ 2575202 w 5239290"/>
                <a:gd name="connsiteY263" fmla="*/ 5145126 h 5222131"/>
                <a:gd name="connsiteX264" fmla="*/ 2379260 w 5239290"/>
                <a:gd name="connsiteY264" fmla="*/ 5222092 h 5222131"/>
                <a:gd name="connsiteX265" fmla="*/ 526424 w 5239290"/>
                <a:gd name="connsiteY265" fmla="*/ 5222092 h 5222131"/>
                <a:gd name="connsiteX266" fmla="*/ 330402 w 5239290"/>
                <a:gd name="connsiteY266" fmla="*/ 5145165 h 5222131"/>
                <a:gd name="connsiteX267" fmla="*/ 246931 w 5239290"/>
                <a:gd name="connsiteY267" fmla="*/ 4956188 h 5222131"/>
                <a:gd name="connsiteX268" fmla="*/ 246931 w 5239290"/>
                <a:gd name="connsiteY268" fmla="*/ 4854503 h 5222131"/>
                <a:gd name="connsiteX269" fmla="*/ 330402 w 5239290"/>
                <a:gd name="connsiteY269" fmla="*/ 4665487 h 5222131"/>
                <a:gd name="connsiteX270" fmla="*/ 350301 w 5239290"/>
                <a:gd name="connsiteY270" fmla="*/ 4648499 h 5222131"/>
                <a:gd name="connsiteX271" fmla="*/ 330442 w 5239290"/>
                <a:gd name="connsiteY271" fmla="*/ 4631501 h 5222131"/>
                <a:gd name="connsiteX272" fmla="*/ 246970 w 5239290"/>
                <a:gd name="connsiteY272" fmla="*/ 4442485 h 5222131"/>
                <a:gd name="connsiteX273" fmla="*/ 246970 w 5239290"/>
                <a:gd name="connsiteY273" fmla="*/ 4340839 h 5222131"/>
                <a:gd name="connsiteX274" fmla="*/ 330442 w 5239290"/>
                <a:gd name="connsiteY274" fmla="*/ 4151823 h 5222131"/>
                <a:gd name="connsiteX275" fmla="*/ 350301 w 5239290"/>
                <a:gd name="connsiteY275" fmla="*/ 4134874 h 5222131"/>
                <a:gd name="connsiteX276" fmla="*/ 330442 w 5239290"/>
                <a:gd name="connsiteY276" fmla="*/ 4117876 h 5222131"/>
                <a:gd name="connsiteX277" fmla="*/ 246970 w 5239290"/>
                <a:gd name="connsiteY277" fmla="*/ 3928860 h 5222131"/>
                <a:gd name="connsiteX278" fmla="*/ 246970 w 5239290"/>
                <a:gd name="connsiteY278" fmla="*/ 3827214 h 5222131"/>
                <a:gd name="connsiteX279" fmla="*/ 330442 w 5239290"/>
                <a:gd name="connsiteY279" fmla="*/ 3638159 h 5222131"/>
                <a:gd name="connsiteX280" fmla="*/ 526463 w 5239290"/>
                <a:gd name="connsiteY280" fmla="*/ 3561280 h 5222131"/>
                <a:gd name="connsiteX281" fmla="*/ 2379299 w 5239290"/>
                <a:gd name="connsiteY281" fmla="*/ 3561280 h 5222131"/>
                <a:gd name="connsiteX282" fmla="*/ 2575320 w 5239290"/>
                <a:gd name="connsiteY282" fmla="*/ 3638159 h 5222131"/>
                <a:gd name="connsiteX283" fmla="*/ 2658782 w 5239290"/>
                <a:gd name="connsiteY283" fmla="*/ 3827214 h 5222131"/>
                <a:gd name="connsiteX284" fmla="*/ 2658782 w 5239290"/>
                <a:gd name="connsiteY284" fmla="*/ 3928860 h 5222131"/>
                <a:gd name="connsiteX285" fmla="*/ 2575359 w 5239290"/>
                <a:gd name="connsiteY285" fmla="*/ 4117876 h 5222131"/>
                <a:gd name="connsiteX286" fmla="*/ 2555451 w 5239290"/>
                <a:gd name="connsiteY286" fmla="*/ 4134874 h 5222131"/>
                <a:gd name="connsiteX287" fmla="*/ 2575320 w 5239290"/>
                <a:gd name="connsiteY287" fmla="*/ 4151823 h 5222131"/>
                <a:gd name="connsiteX288" fmla="*/ 2658782 w 5239290"/>
                <a:gd name="connsiteY288" fmla="*/ 4340839 h 5222131"/>
                <a:gd name="connsiteX289" fmla="*/ 2658782 w 5239290"/>
                <a:gd name="connsiteY289" fmla="*/ 4442485 h 5222131"/>
                <a:gd name="connsiteX290" fmla="*/ 2575320 w 5239290"/>
                <a:gd name="connsiteY290" fmla="*/ 4631501 h 5222131"/>
                <a:gd name="connsiteX291" fmla="*/ 2555412 w 5239290"/>
                <a:gd name="connsiteY291" fmla="*/ 4648499 h 5222131"/>
                <a:gd name="connsiteX292" fmla="*/ 2493269 w 5239290"/>
                <a:gd name="connsiteY292" fmla="*/ 4752555 h 5222131"/>
                <a:gd name="connsiteX293" fmla="*/ 2379211 w 5239290"/>
                <a:gd name="connsiteY293" fmla="*/ 4708389 h 5222131"/>
                <a:gd name="connsiteX294" fmla="*/ 526385 w 5239290"/>
                <a:gd name="connsiteY294" fmla="*/ 4708389 h 5222131"/>
                <a:gd name="connsiteX295" fmla="*/ 412297 w 5239290"/>
                <a:gd name="connsiteY295" fmla="*/ 4752515 h 5222131"/>
                <a:gd name="connsiteX296" fmla="*/ 366789 w 5239290"/>
                <a:gd name="connsiteY296" fmla="*/ 4854425 h 5222131"/>
                <a:gd name="connsiteX297" fmla="*/ 366789 w 5239290"/>
                <a:gd name="connsiteY297" fmla="*/ 4956110 h 5222131"/>
                <a:gd name="connsiteX298" fmla="*/ 412326 w 5239290"/>
                <a:gd name="connsiteY298" fmla="*/ 5057980 h 5222131"/>
                <a:gd name="connsiteX299" fmla="*/ 526375 w 5239290"/>
                <a:gd name="connsiteY299" fmla="*/ 5102146 h 5222131"/>
                <a:gd name="connsiteX300" fmla="*/ 2379211 w 5239290"/>
                <a:gd name="connsiteY300" fmla="*/ 5102146 h 5222131"/>
                <a:gd name="connsiteX301" fmla="*/ 2493220 w 5239290"/>
                <a:gd name="connsiteY301" fmla="*/ 5057941 h 5222131"/>
                <a:gd name="connsiteX302" fmla="*/ 2538806 w 5239290"/>
                <a:gd name="connsiteY302" fmla="*/ 4956071 h 5222131"/>
                <a:gd name="connsiteX303" fmla="*/ 2538806 w 5239290"/>
                <a:gd name="connsiteY303" fmla="*/ 4854386 h 5222131"/>
                <a:gd name="connsiteX304" fmla="*/ 2493220 w 5239290"/>
                <a:gd name="connsiteY304" fmla="*/ 4752476 h 5222131"/>
                <a:gd name="connsiteX305" fmla="*/ 2493269 w 5239290"/>
                <a:gd name="connsiteY305" fmla="*/ 4238890 h 5222131"/>
                <a:gd name="connsiteX306" fmla="*/ 2379211 w 5239290"/>
                <a:gd name="connsiteY306" fmla="*/ 4194764 h 5222131"/>
                <a:gd name="connsiteX307" fmla="*/ 526385 w 5239290"/>
                <a:gd name="connsiteY307" fmla="*/ 4194764 h 5222131"/>
                <a:gd name="connsiteX308" fmla="*/ 412297 w 5239290"/>
                <a:gd name="connsiteY308" fmla="*/ 4238890 h 5222131"/>
                <a:gd name="connsiteX309" fmla="*/ 366789 w 5239290"/>
                <a:gd name="connsiteY309" fmla="*/ 4340800 h 5222131"/>
                <a:gd name="connsiteX310" fmla="*/ 366789 w 5239290"/>
                <a:gd name="connsiteY310" fmla="*/ 4442445 h 5222131"/>
                <a:gd name="connsiteX311" fmla="*/ 412297 w 5239290"/>
                <a:gd name="connsiteY311" fmla="*/ 4544355 h 5222131"/>
                <a:gd name="connsiteX312" fmla="*/ 526385 w 5239290"/>
                <a:gd name="connsiteY312" fmla="*/ 4588521 h 5222131"/>
                <a:gd name="connsiteX313" fmla="*/ 2379211 w 5239290"/>
                <a:gd name="connsiteY313" fmla="*/ 4588521 h 5222131"/>
                <a:gd name="connsiteX314" fmla="*/ 2493269 w 5239290"/>
                <a:gd name="connsiteY314" fmla="*/ 4544355 h 5222131"/>
                <a:gd name="connsiteX315" fmla="*/ 2538845 w 5239290"/>
                <a:gd name="connsiteY315" fmla="*/ 4442445 h 5222131"/>
                <a:gd name="connsiteX316" fmla="*/ 2538845 w 5239290"/>
                <a:gd name="connsiteY316" fmla="*/ 4340800 h 5222131"/>
                <a:gd name="connsiteX317" fmla="*/ 2493269 w 5239290"/>
                <a:gd name="connsiteY317" fmla="*/ 4238890 h 5222131"/>
                <a:gd name="connsiteX318" fmla="*/ 2379211 w 5239290"/>
                <a:gd name="connsiteY318" fmla="*/ 3681139 h 5222131"/>
                <a:gd name="connsiteX319" fmla="*/ 526385 w 5239290"/>
                <a:gd name="connsiteY319" fmla="*/ 3681139 h 5222131"/>
                <a:gd name="connsiteX320" fmla="*/ 412297 w 5239290"/>
                <a:gd name="connsiteY320" fmla="*/ 3725265 h 5222131"/>
                <a:gd name="connsiteX321" fmla="*/ 366789 w 5239290"/>
                <a:gd name="connsiteY321" fmla="*/ 3827214 h 5222131"/>
                <a:gd name="connsiteX322" fmla="*/ 366789 w 5239290"/>
                <a:gd name="connsiteY322" fmla="*/ 3928860 h 5222131"/>
                <a:gd name="connsiteX323" fmla="*/ 412297 w 5239290"/>
                <a:gd name="connsiteY323" fmla="*/ 4030770 h 5222131"/>
                <a:gd name="connsiteX324" fmla="*/ 526385 w 5239290"/>
                <a:gd name="connsiteY324" fmla="*/ 4074886 h 5222131"/>
                <a:gd name="connsiteX325" fmla="*/ 2379211 w 5239290"/>
                <a:gd name="connsiteY325" fmla="*/ 4074886 h 5222131"/>
                <a:gd name="connsiteX326" fmla="*/ 2493308 w 5239290"/>
                <a:gd name="connsiteY326" fmla="*/ 4030770 h 5222131"/>
                <a:gd name="connsiteX327" fmla="*/ 2538806 w 5239290"/>
                <a:gd name="connsiteY327" fmla="*/ 3928860 h 5222131"/>
                <a:gd name="connsiteX328" fmla="*/ 2538806 w 5239290"/>
                <a:gd name="connsiteY328" fmla="*/ 3827214 h 5222131"/>
                <a:gd name="connsiteX329" fmla="*/ 2493308 w 5239290"/>
                <a:gd name="connsiteY329" fmla="*/ 3725265 h 5222131"/>
                <a:gd name="connsiteX330" fmla="*/ 2379211 w 5239290"/>
                <a:gd name="connsiteY330" fmla="*/ 3681139 h 5222131"/>
                <a:gd name="connsiteX331" fmla="*/ 4959788 w 5239290"/>
                <a:gd name="connsiteY331" fmla="*/ 3167475 h 5222131"/>
                <a:gd name="connsiteX332" fmla="*/ 3106942 w 5239290"/>
                <a:gd name="connsiteY332" fmla="*/ 3167475 h 5222131"/>
                <a:gd name="connsiteX333" fmla="*/ 2992855 w 5239290"/>
                <a:gd name="connsiteY333" fmla="*/ 3211601 h 5222131"/>
                <a:gd name="connsiteX334" fmla="*/ 2947357 w 5239290"/>
                <a:gd name="connsiteY334" fmla="*/ 3313511 h 5222131"/>
                <a:gd name="connsiteX335" fmla="*/ 2947357 w 5239290"/>
                <a:gd name="connsiteY335" fmla="*/ 3415156 h 5222131"/>
                <a:gd name="connsiteX336" fmla="*/ 2992855 w 5239290"/>
                <a:gd name="connsiteY336" fmla="*/ 3517105 h 5222131"/>
                <a:gd name="connsiteX337" fmla="*/ 3106942 w 5239290"/>
                <a:gd name="connsiteY337" fmla="*/ 3561192 h 5222131"/>
                <a:gd name="connsiteX338" fmla="*/ 4959788 w 5239290"/>
                <a:gd name="connsiteY338" fmla="*/ 3561192 h 5222131"/>
                <a:gd name="connsiteX339" fmla="*/ 5073876 w 5239290"/>
                <a:gd name="connsiteY339" fmla="*/ 3517105 h 5222131"/>
                <a:gd name="connsiteX340" fmla="*/ 5119374 w 5239290"/>
                <a:gd name="connsiteY340" fmla="*/ 3415156 h 5222131"/>
                <a:gd name="connsiteX341" fmla="*/ 5119374 w 5239290"/>
                <a:gd name="connsiteY341" fmla="*/ 3313511 h 5222131"/>
                <a:gd name="connsiteX342" fmla="*/ 5073876 w 5239290"/>
                <a:gd name="connsiteY342" fmla="*/ 3211601 h 5222131"/>
                <a:gd name="connsiteX343" fmla="*/ 4959788 w 5239290"/>
                <a:gd name="connsiteY343" fmla="*/ 3167475 h 5222131"/>
                <a:gd name="connsiteX344" fmla="*/ 4959788 w 5239290"/>
                <a:gd name="connsiteY344" fmla="*/ 3681139 h 5222131"/>
                <a:gd name="connsiteX345" fmla="*/ 3106942 w 5239290"/>
                <a:gd name="connsiteY345" fmla="*/ 3681139 h 5222131"/>
                <a:gd name="connsiteX346" fmla="*/ 2992855 w 5239290"/>
                <a:gd name="connsiteY346" fmla="*/ 3725265 h 5222131"/>
                <a:gd name="connsiteX347" fmla="*/ 2947357 w 5239290"/>
                <a:gd name="connsiteY347" fmla="*/ 3827214 h 5222131"/>
                <a:gd name="connsiteX348" fmla="*/ 2947357 w 5239290"/>
                <a:gd name="connsiteY348" fmla="*/ 3928860 h 5222131"/>
                <a:gd name="connsiteX349" fmla="*/ 2992894 w 5239290"/>
                <a:gd name="connsiteY349" fmla="*/ 4030770 h 5222131"/>
                <a:gd name="connsiteX350" fmla="*/ 3106942 w 5239290"/>
                <a:gd name="connsiteY350" fmla="*/ 4074925 h 5222131"/>
                <a:gd name="connsiteX351" fmla="*/ 4959778 w 5239290"/>
                <a:gd name="connsiteY351" fmla="*/ 4074925 h 5222131"/>
                <a:gd name="connsiteX352" fmla="*/ 5073827 w 5239290"/>
                <a:gd name="connsiteY352" fmla="*/ 4030770 h 5222131"/>
                <a:gd name="connsiteX353" fmla="*/ 5119413 w 5239290"/>
                <a:gd name="connsiteY353" fmla="*/ 3928860 h 5222131"/>
                <a:gd name="connsiteX354" fmla="*/ 5119413 w 5239290"/>
                <a:gd name="connsiteY354" fmla="*/ 3827214 h 5222131"/>
                <a:gd name="connsiteX355" fmla="*/ 5073866 w 5239290"/>
                <a:gd name="connsiteY355" fmla="*/ 3725265 h 5222131"/>
                <a:gd name="connsiteX356" fmla="*/ 4959817 w 5239290"/>
                <a:gd name="connsiteY356" fmla="*/ 3681100 h 5222131"/>
                <a:gd name="connsiteX357" fmla="*/ 5073836 w 5239290"/>
                <a:gd name="connsiteY357" fmla="*/ 4752555 h 5222131"/>
                <a:gd name="connsiteX358" fmla="*/ 4959788 w 5239290"/>
                <a:gd name="connsiteY358" fmla="*/ 4708389 h 5222131"/>
                <a:gd name="connsiteX359" fmla="*/ 3106942 w 5239290"/>
                <a:gd name="connsiteY359" fmla="*/ 4708389 h 5222131"/>
                <a:gd name="connsiteX360" fmla="*/ 2992855 w 5239290"/>
                <a:gd name="connsiteY360" fmla="*/ 4752515 h 5222131"/>
                <a:gd name="connsiteX361" fmla="*/ 2947357 w 5239290"/>
                <a:gd name="connsiteY361" fmla="*/ 4854464 h 5222131"/>
                <a:gd name="connsiteX362" fmla="*/ 2947357 w 5239290"/>
                <a:gd name="connsiteY362" fmla="*/ 4956071 h 5222131"/>
                <a:gd name="connsiteX363" fmla="*/ 2992894 w 5239290"/>
                <a:gd name="connsiteY363" fmla="*/ 5057980 h 5222131"/>
                <a:gd name="connsiteX364" fmla="*/ 3106942 w 5239290"/>
                <a:gd name="connsiteY364" fmla="*/ 5102146 h 5222131"/>
                <a:gd name="connsiteX365" fmla="*/ 4959778 w 5239290"/>
                <a:gd name="connsiteY365" fmla="*/ 5102146 h 5222131"/>
                <a:gd name="connsiteX366" fmla="*/ 5073787 w 5239290"/>
                <a:gd name="connsiteY366" fmla="*/ 5057941 h 5222131"/>
                <a:gd name="connsiteX367" fmla="*/ 5119374 w 5239290"/>
                <a:gd name="connsiteY367" fmla="*/ 4956071 h 5222131"/>
                <a:gd name="connsiteX368" fmla="*/ 5119374 w 5239290"/>
                <a:gd name="connsiteY368" fmla="*/ 4854464 h 5222131"/>
                <a:gd name="connsiteX369" fmla="*/ 5073787 w 5239290"/>
                <a:gd name="connsiteY369" fmla="*/ 4752555 h 5222131"/>
                <a:gd name="connsiteX370" fmla="*/ 5073866 w 5239290"/>
                <a:gd name="connsiteY370" fmla="*/ 4238929 h 5222131"/>
                <a:gd name="connsiteX371" fmla="*/ 4959817 w 5239290"/>
                <a:gd name="connsiteY371" fmla="*/ 4194764 h 5222131"/>
                <a:gd name="connsiteX372" fmla="*/ 3106981 w 5239290"/>
                <a:gd name="connsiteY372" fmla="*/ 4194764 h 5222131"/>
                <a:gd name="connsiteX373" fmla="*/ 2992894 w 5239290"/>
                <a:gd name="connsiteY373" fmla="*/ 4238890 h 5222131"/>
                <a:gd name="connsiteX374" fmla="*/ 2947396 w 5239290"/>
                <a:gd name="connsiteY374" fmla="*/ 4340839 h 5222131"/>
                <a:gd name="connsiteX375" fmla="*/ 2947396 w 5239290"/>
                <a:gd name="connsiteY375" fmla="*/ 4442445 h 5222131"/>
                <a:gd name="connsiteX376" fmla="*/ 2992894 w 5239290"/>
                <a:gd name="connsiteY376" fmla="*/ 4544355 h 5222131"/>
                <a:gd name="connsiteX377" fmla="*/ 3106981 w 5239290"/>
                <a:gd name="connsiteY377" fmla="*/ 4588521 h 5222131"/>
                <a:gd name="connsiteX378" fmla="*/ 4959817 w 5239290"/>
                <a:gd name="connsiteY378" fmla="*/ 4588521 h 5222131"/>
                <a:gd name="connsiteX379" fmla="*/ 5073866 w 5239290"/>
                <a:gd name="connsiteY379" fmla="*/ 4544355 h 5222131"/>
                <a:gd name="connsiteX380" fmla="*/ 5119452 w 5239290"/>
                <a:gd name="connsiteY380" fmla="*/ 4442445 h 5222131"/>
                <a:gd name="connsiteX381" fmla="*/ 5119452 w 5239290"/>
                <a:gd name="connsiteY381" fmla="*/ 4340839 h 5222131"/>
                <a:gd name="connsiteX382" fmla="*/ 5073905 w 5239290"/>
                <a:gd name="connsiteY382" fmla="*/ 4238929 h 52221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</a:cxnLst>
              <a:rect l="l" t="t" r="r" b="b"/>
              <a:pathLst>
                <a:path w="5239290" h="5222131">
                  <a:moveTo>
                    <a:pt x="3106962" y="3047577"/>
                  </a:moveTo>
                  <a:lnTo>
                    <a:pt x="4959797" y="3047577"/>
                  </a:lnTo>
                  <a:cubicBezTo>
                    <a:pt x="5035843" y="3047577"/>
                    <a:pt x="5105266" y="3077008"/>
                    <a:pt x="5155819" y="3124465"/>
                  </a:cubicBezTo>
                  <a:cubicBezTo>
                    <a:pt x="5207333" y="3172794"/>
                    <a:pt x="5239290" y="3239699"/>
                    <a:pt x="5239290" y="3313520"/>
                  </a:cubicBezTo>
                  <a:lnTo>
                    <a:pt x="5239290" y="3415166"/>
                  </a:lnTo>
                  <a:cubicBezTo>
                    <a:pt x="5239290" y="3488987"/>
                    <a:pt x="5207293" y="3555882"/>
                    <a:pt x="5155819" y="3604222"/>
                  </a:cubicBezTo>
                  <a:cubicBezTo>
                    <a:pt x="5149471" y="3610149"/>
                    <a:pt x="5142847" y="3615851"/>
                    <a:pt x="5135921" y="3621210"/>
                  </a:cubicBezTo>
                  <a:cubicBezTo>
                    <a:pt x="5142847" y="3626569"/>
                    <a:pt x="5149471" y="3632231"/>
                    <a:pt x="5155819" y="3638198"/>
                  </a:cubicBezTo>
                  <a:cubicBezTo>
                    <a:pt x="5207333" y="3686537"/>
                    <a:pt x="5239290" y="3753481"/>
                    <a:pt x="5239290" y="3827253"/>
                  </a:cubicBezTo>
                  <a:lnTo>
                    <a:pt x="5239290" y="3928899"/>
                  </a:lnTo>
                  <a:cubicBezTo>
                    <a:pt x="5239290" y="4002691"/>
                    <a:pt x="5207293" y="4069576"/>
                    <a:pt x="5155780" y="4117915"/>
                  </a:cubicBezTo>
                  <a:cubicBezTo>
                    <a:pt x="5149431" y="4123852"/>
                    <a:pt x="5142809" y="4129554"/>
                    <a:pt x="5135882" y="4134913"/>
                  </a:cubicBezTo>
                  <a:cubicBezTo>
                    <a:pt x="5142809" y="4140272"/>
                    <a:pt x="5149431" y="4145935"/>
                    <a:pt x="5155780" y="4151901"/>
                  </a:cubicBezTo>
                  <a:cubicBezTo>
                    <a:pt x="5207293" y="4200241"/>
                    <a:pt x="5239252" y="4267175"/>
                    <a:pt x="5239252" y="4340957"/>
                  </a:cubicBezTo>
                  <a:lnTo>
                    <a:pt x="5239252" y="4442563"/>
                  </a:lnTo>
                  <a:cubicBezTo>
                    <a:pt x="5239252" y="4516345"/>
                    <a:pt x="5207254" y="4583240"/>
                    <a:pt x="5155740" y="4631579"/>
                  </a:cubicBezTo>
                  <a:cubicBezTo>
                    <a:pt x="5149392" y="4637556"/>
                    <a:pt x="5142730" y="4643218"/>
                    <a:pt x="5135842" y="4648577"/>
                  </a:cubicBezTo>
                  <a:cubicBezTo>
                    <a:pt x="5142730" y="4653966"/>
                    <a:pt x="5149392" y="4659599"/>
                    <a:pt x="5155740" y="4665566"/>
                  </a:cubicBezTo>
                  <a:cubicBezTo>
                    <a:pt x="5207254" y="4713905"/>
                    <a:pt x="5239252" y="4780839"/>
                    <a:pt x="5239252" y="4854582"/>
                  </a:cubicBezTo>
                  <a:lnTo>
                    <a:pt x="5239252" y="4956188"/>
                  </a:lnTo>
                  <a:cubicBezTo>
                    <a:pt x="5239252" y="5029931"/>
                    <a:pt x="5207215" y="5096826"/>
                    <a:pt x="5155701" y="5145165"/>
                  </a:cubicBezTo>
                  <a:cubicBezTo>
                    <a:pt x="5105109" y="5192622"/>
                    <a:pt x="5035725" y="5222132"/>
                    <a:pt x="4959759" y="5222132"/>
                  </a:cubicBezTo>
                  <a:lnTo>
                    <a:pt x="3106923" y="5222132"/>
                  </a:lnTo>
                  <a:cubicBezTo>
                    <a:pt x="3030956" y="5222132"/>
                    <a:pt x="2961494" y="5192662"/>
                    <a:pt x="2910901" y="5145204"/>
                  </a:cubicBezTo>
                  <a:cubicBezTo>
                    <a:pt x="2859427" y="5096905"/>
                    <a:pt x="2827440" y="5030010"/>
                    <a:pt x="2827440" y="4956188"/>
                  </a:cubicBezTo>
                  <a:lnTo>
                    <a:pt x="2827440" y="4854582"/>
                  </a:lnTo>
                  <a:cubicBezTo>
                    <a:pt x="2827440" y="4780761"/>
                    <a:pt x="2859427" y="4713826"/>
                    <a:pt x="2910901" y="4665526"/>
                  </a:cubicBezTo>
                  <a:cubicBezTo>
                    <a:pt x="2917260" y="4659560"/>
                    <a:pt x="2923883" y="4653887"/>
                    <a:pt x="2930809" y="4648538"/>
                  </a:cubicBezTo>
                  <a:cubicBezTo>
                    <a:pt x="2923912" y="4643179"/>
                    <a:pt x="2917260" y="4637516"/>
                    <a:pt x="2910941" y="4631540"/>
                  </a:cubicBezTo>
                  <a:cubicBezTo>
                    <a:pt x="2859466" y="4583240"/>
                    <a:pt x="2827479" y="4516345"/>
                    <a:pt x="2827479" y="4442524"/>
                  </a:cubicBezTo>
                  <a:lnTo>
                    <a:pt x="2827479" y="4340918"/>
                  </a:lnTo>
                  <a:cubicBezTo>
                    <a:pt x="2827479" y="4267096"/>
                    <a:pt x="2859466" y="4200162"/>
                    <a:pt x="2910941" y="4151862"/>
                  </a:cubicBezTo>
                  <a:cubicBezTo>
                    <a:pt x="2917299" y="4145895"/>
                    <a:pt x="2923912" y="4140233"/>
                    <a:pt x="2930839" y="4134874"/>
                  </a:cubicBezTo>
                  <a:cubicBezTo>
                    <a:pt x="2923951" y="4129515"/>
                    <a:pt x="2917338" y="4123852"/>
                    <a:pt x="2910980" y="4117876"/>
                  </a:cubicBezTo>
                  <a:cubicBezTo>
                    <a:pt x="2859506" y="4069586"/>
                    <a:pt x="2827518" y="4002642"/>
                    <a:pt x="2827518" y="3928860"/>
                  </a:cubicBezTo>
                  <a:lnTo>
                    <a:pt x="2827518" y="3827214"/>
                  </a:lnTo>
                  <a:cubicBezTo>
                    <a:pt x="2827518" y="3753393"/>
                    <a:pt x="2859506" y="3686459"/>
                    <a:pt x="2910980" y="3638159"/>
                  </a:cubicBezTo>
                  <a:cubicBezTo>
                    <a:pt x="2917338" y="3632231"/>
                    <a:pt x="2923951" y="3626529"/>
                    <a:pt x="2930878" y="3621170"/>
                  </a:cubicBezTo>
                  <a:cubicBezTo>
                    <a:pt x="2923990" y="3615811"/>
                    <a:pt x="2917338" y="3610149"/>
                    <a:pt x="2911019" y="3604212"/>
                  </a:cubicBezTo>
                  <a:cubicBezTo>
                    <a:pt x="2859506" y="3555882"/>
                    <a:pt x="2827557" y="3488987"/>
                    <a:pt x="2827557" y="3415156"/>
                  </a:cubicBezTo>
                  <a:lnTo>
                    <a:pt x="2827557" y="3313511"/>
                  </a:lnTo>
                  <a:cubicBezTo>
                    <a:pt x="2827557" y="3239689"/>
                    <a:pt x="2859545" y="3172794"/>
                    <a:pt x="2911019" y="3124465"/>
                  </a:cubicBezTo>
                  <a:cubicBezTo>
                    <a:pt x="2961612" y="3077008"/>
                    <a:pt x="3030995" y="3047577"/>
                    <a:pt x="3107040" y="3047577"/>
                  </a:cubicBezTo>
                  <a:close/>
                  <a:moveTo>
                    <a:pt x="4032674" y="538431"/>
                  </a:moveTo>
                  <a:cubicBezTo>
                    <a:pt x="4362329" y="538431"/>
                    <a:pt x="4660838" y="672074"/>
                    <a:pt x="4876914" y="888140"/>
                  </a:cubicBezTo>
                  <a:cubicBezTo>
                    <a:pt x="5092990" y="1104216"/>
                    <a:pt x="5226623" y="1402715"/>
                    <a:pt x="5226623" y="1732379"/>
                  </a:cubicBezTo>
                  <a:cubicBezTo>
                    <a:pt x="5226623" y="2062033"/>
                    <a:pt x="5092980" y="2360543"/>
                    <a:pt x="4876914" y="2576619"/>
                  </a:cubicBezTo>
                  <a:cubicBezTo>
                    <a:pt x="4660877" y="2792656"/>
                    <a:pt x="4362368" y="2926328"/>
                    <a:pt x="4032674" y="2926328"/>
                  </a:cubicBezTo>
                  <a:cubicBezTo>
                    <a:pt x="3703020" y="2926328"/>
                    <a:pt x="3404511" y="2792646"/>
                    <a:pt x="3188435" y="2576619"/>
                  </a:cubicBezTo>
                  <a:cubicBezTo>
                    <a:pt x="3146758" y="2534942"/>
                    <a:pt x="3108187" y="2490208"/>
                    <a:pt x="3073015" y="2442790"/>
                  </a:cubicBezTo>
                  <a:lnTo>
                    <a:pt x="898441" y="3312325"/>
                  </a:lnTo>
                  <a:lnTo>
                    <a:pt x="898216" y="3312325"/>
                  </a:lnTo>
                  <a:cubicBezTo>
                    <a:pt x="875976" y="3321162"/>
                    <a:pt x="853012" y="3325258"/>
                    <a:pt x="830547" y="3325032"/>
                  </a:cubicBezTo>
                  <a:cubicBezTo>
                    <a:pt x="806749" y="3324768"/>
                    <a:pt x="783667" y="3319898"/>
                    <a:pt x="762701" y="3310915"/>
                  </a:cubicBezTo>
                  <a:lnTo>
                    <a:pt x="762124" y="3310640"/>
                  </a:lnTo>
                  <a:cubicBezTo>
                    <a:pt x="740922" y="3301568"/>
                    <a:pt x="721367" y="3288254"/>
                    <a:pt x="704908" y="3271305"/>
                  </a:cubicBezTo>
                  <a:cubicBezTo>
                    <a:pt x="689252" y="3255188"/>
                    <a:pt x="676359" y="3235712"/>
                    <a:pt x="667326" y="3213247"/>
                  </a:cubicBezTo>
                  <a:lnTo>
                    <a:pt x="667248" y="3213286"/>
                  </a:lnTo>
                  <a:lnTo>
                    <a:pt x="12568" y="1575204"/>
                  </a:lnTo>
                  <a:lnTo>
                    <a:pt x="12568" y="1574969"/>
                  </a:lnTo>
                  <a:cubicBezTo>
                    <a:pt x="3689" y="1552778"/>
                    <a:pt x="-290" y="1529814"/>
                    <a:pt x="16" y="1507231"/>
                  </a:cubicBezTo>
                  <a:cubicBezTo>
                    <a:pt x="246" y="1492771"/>
                    <a:pt x="2197" y="1478565"/>
                    <a:pt x="5680" y="1464868"/>
                  </a:cubicBezTo>
                  <a:lnTo>
                    <a:pt x="4417" y="1461772"/>
                  </a:lnTo>
                  <a:lnTo>
                    <a:pt x="14214" y="1438886"/>
                  </a:lnTo>
                  <a:cubicBezTo>
                    <a:pt x="23284" y="1417646"/>
                    <a:pt x="36603" y="1398120"/>
                    <a:pt x="53518" y="1381710"/>
                  </a:cubicBezTo>
                  <a:cubicBezTo>
                    <a:pt x="69821" y="1365898"/>
                    <a:pt x="89338" y="1352926"/>
                    <a:pt x="111574" y="1344050"/>
                  </a:cubicBezTo>
                  <a:lnTo>
                    <a:pt x="3442602" y="12715"/>
                  </a:lnTo>
                  <a:cubicBezTo>
                    <a:pt x="3464832" y="3837"/>
                    <a:pt x="3487875" y="-220"/>
                    <a:pt x="3510536" y="9"/>
                  </a:cubicBezTo>
                  <a:cubicBezTo>
                    <a:pt x="3534529" y="278"/>
                    <a:pt x="3557640" y="5176"/>
                    <a:pt x="3578538" y="14169"/>
                  </a:cubicBezTo>
                  <a:lnTo>
                    <a:pt x="3601424" y="23966"/>
                  </a:lnTo>
                  <a:lnTo>
                    <a:pt x="3602648" y="27142"/>
                  </a:lnTo>
                  <a:cubicBezTo>
                    <a:pt x="3614660" y="34606"/>
                    <a:pt x="3625838" y="43522"/>
                    <a:pt x="3635831" y="53701"/>
                  </a:cubicBezTo>
                  <a:cubicBezTo>
                    <a:pt x="3651360" y="69584"/>
                    <a:pt x="3664184" y="88680"/>
                    <a:pt x="3673178" y="110609"/>
                  </a:cubicBezTo>
                  <a:lnTo>
                    <a:pt x="3673256" y="110571"/>
                  </a:lnTo>
                  <a:lnTo>
                    <a:pt x="3861695" y="550600"/>
                  </a:lnTo>
                  <a:cubicBezTo>
                    <a:pt x="3917528" y="542601"/>
                    <a:pt x="3974587" y="538430"/>
                    <a:pt x="4032606" y="538430"/>
                  </a:cubicBezTo>
                  <a:close/>
                  <a:moveTo>
                    <a:pt x="3005346" y="2341105"/>
                  </a:moveTo>
                  <a:cubicBezTo>
                    <a:pt x="2983038" y="2303484"/>
                    <a:pt x="2962709" y="2264560"/>
                    <a:pt x="2944535" y="2224421"/>
                  </a:cubicBezTo>
                  <a:lnTo>
                    <a:pt x="1080335" y="2969582"/>
                  </a:lnTo>
                  <a:lnTo>
                    <a:pt x="1064718" y="2934450"/>
                  </a:lnTo>
                  <a:lnTo>
                    <a:pt x="1064071" y="2933147"/>
                  </a:lnTo>
                  <a:cubicBezTo>
                    <a:pt x="1048494" y="2894193"/>
                    <a:pt x="1019445" y="2865027"/>
                    <a:pt x="985077" y="2849342"/>
                  </a:cubicBezTo>
                  <a:cubicBezTo>
                    <a:pt x="951326" y="2833950"/>
                    <a:pt x="912323" y="2831658"/>
                    <a:pt x="876201" y="2846089"/>
                  </a:cubicBezTo>
                  <a:lnTo>
                    <a:pt x="838933" y="2860050"/>
                  </a:lnTo>
                  <a:lnTo>
                    <a:pt x="380035" y="1711923"/>
                  </a:lnTo>
                  <a:lnTo>
                    <a:pt x="417117" y="1697080"/>
                  </a:lnTo>
                  <a:cubicBezTo>
                    <a:pt x="453131" y="1682688"/>
                    <a:pt x="479721" y="1654179"/>
                    <a:pt x="493574" y="1619732"/>
                  </a:cubicBezTo>
                  <a:cubicBezTo>
                    <a:pt x="507741" y="1584599"/>
                    <a:pt x="508691" y="1543422"/>
                    <a:pt x="493123" y="1504458"/>
                  </a:cubicBezTo>
                  <a:lnTo>
                    <a:pt x="478388" y="1467572"/>
                  </a:lnTo>
                  <a:cubicBezTo>
                    <a:pt x="1408118" y="1095888"/>
                    <a:pt x="2337886" y="724289"/>
                    <a:pt x="3267635" y="352752"/>
                  </a:cubicBezTo>
                  <a:lnTo>
                    <a:pt x="3278079" y="394581"/>
                  </a:lnTo>
                  <a:cubicBezTo>
                    <a:pt x="3293882" y="432200"/>
                    <a:pt x="3322401" y="460406"/>
                    <a:pt x="3355956" y="475713"/>
                  </a:cubicBezTo>
                  <a:cubicBezTo>
                    <a:pt x="3389678" y="491098"/>
                    <a:pt x="3428592" y="493394"/>
                    <a:pt x="3464724" y="478966"/>
                  </a:cubicBezTo>
                  <a:lnTo>
                    <a:pt x="3502267" y="466452"/>
                  </a:lnTo>
                  <a:lnTo>
                    <a:pt x="3570161" y="631397"/>
                  </a:lnTo>
                  <a:cubicBezTo>
                    <a:pt x="3625387" y="608205"/>
                    <a:pt x="3682711" y="588994"/>
                    <a:pt x="3741729" y="574222"/>
                  </a:cubicBezTo>
                  <a:lnTo>
                    <a:pt x="3563234" y="157461"/>
                  </a:lnTo>
                  <a:lnTo>
                    <a:pt x="3562774" y="156084"/>
                  </a:lnTo>
                  <a:cubicBezTo>
                    <a:pt x="3559982" y="149080"/>
                    <a:pt x="3555808" y="142842"/>
                    <a:pt x="3550645" y="137599"/>
                  </a:cubicBezTo>
                  <a:cubicBezTo>
                    <a:pt x="3545208" y="132050"/>
                    <a:pt x="3538742" y="127649"/>
                    <a:pt x="3531658" y="124626"/>
                  </a:cubicBezTo>
                  <a:lnTo>
                    <a:pt x="3526270" y="122329"/>
                  </a:lnTo>
                  <a:cubicBezTo>
                    <a:pt x="3520754" y="120492"/>
                    <a:pt x="3515091" y="119497"/>
                    <a:pt x="3509576" y="119421"/>
                  </a:cubicBezTo>
                  <a:cubicBezTo>
                    <a:pt x="3502198" y="119344"/>
                    <a:pt x="3494537" y="120722"/>
                    <a:pt x="3487081" y="123745"/>
                  </a:cubicBezTo>
                  <a:lnTo>
                    <a:pt x="156049" y="1455081"/>
                  </a:lnTo>
                  <a:cubicBezTo>
                    <a:pt x="148585" y="1458069"/>
                    <a:pt x="142118" y="1462311"/>
                    <a:pt x="136837" y="1467445"/>
                  </a:cubicBezTo>
                  <a:cubicBezTo>
                    <a:pt x="132819" y="1471344"/>
                    <a:pt x="129413" y="1475782"/>
                    <a:pt x="126735" y="1480602"/>
                  </a:cubicBezTo>
                  <a:lnTo>
                    <a:pt x="124362" y="1486157"/>
                  </a:lnTo>
                  <a:cubicBezTo>
                    <a:pt x="121224" y="1493505"/>
                    <a:pt x="119501" y="1501196"/>
                    <a:pt x="119387" y="1508701"/>
                  </a:cubicBezTo>
                  <a:cubicBezTo>
                    <a:pt x="119271" y="1516117"/>
                    <a:pt x="120573" y="1523622"/>
                    <a:pt x="123405" y="1530813"/>
                  </a:cubicBezTo>
                  <a:lnTo>
                    <a:pt x="123481" y="1530774"/>
                  </a:lnTo>
                  <a:lnTo>
                    <a:pt x="778201" y="3168856"/>
                  </a:lnTo>
                  <a:lnTo>
                    <a:pt x="778201" y="3169091"/>
                  </a:lnTo>
                  <a:cubicBezTo>
                    <a:pt x="781071" y="3176282"/>
                    <a:pt x="785323" y="3182641"/>
                    <a:pt x="790565" y="3188029"/>
                  </a:cubicBezTo>
                  <a:cubicBezTo>
                    <a:pt x="795845" y="3193466"/>
                    <a:pt x="802125" y="3197758"/>
                    <a:pt x="808895" y="3200667"/>
                  </a:cubicBezTo>
                  <a:lnTo>
                    <a:pt x="809473" y="3200971"/>
                  </a:lnTo>
                  <a:cubicBezTo>
                    <a:pt x="816547" y="3203959"/>
                    <a:pt x="824012" y="3205634"/>
                    <a:pt x="831477" y="3205713"/>
                  </a:cubicBezTo>
                  <a:cubicBezTo>
                    <a:pt x="838904" y="3205791"/>
                    <a:pt x="846555" y="3204449"/>
                    <a:pt x="853942" y="3201500"/>
                  </a:cubicBezTo>
                  <a:lnTo>
                    <a:pt x="853903" y="3201432"/>
                  </a:lnTo>
                  <a:lnTo>
                    <a:pt x="3005258" y="2341154"/>
                  </a:lnTo>
                  <a:close/>
                  <a:moveTo>
                    <a:pt x="2914115" y="2150747"/>
                  </a:moveTo>
                  <a:cubicBezTo>
                    <a:pt x="2865394" y="2020552"/>
                    <a:pt x="2838716" y="1879562"/>
                    <a:pt x="2838716" y="1732379"/>
                  </a:cubicBezTo>
                  <a:cubicBezTo>
                    <a:pt x="2838716" y="1402725"/>
                    <a:pt x="2972359" y="1104216"/>
                    <a:pt x="3188425" y="888140"/>
                  </a:cubicBezTo>
                  <a:cubicBezTo>
                    <a:pt x="3278480" y="798090"/>
                    <a:pt x="3382801" y="722392"/>
                    <a:pt x="3497760" y="664677"/>
                  </a:cubicBezTo>
                  <a:lnTo>
                    <a:pt x="3456397" y="564138"/>
                  </a:lnTo>
                  <a:cubicBezTo>
                    <a:pt x="3410771" y="573209"/>
                    <a:pt x="3364274" y="566933"/>
                    <a:pt x="3322911" y="548065"/>
                  </a:cubicBezTo>
                  <a:cubicBezTo>
                    <a:pt x="3281802" y="529351"/>
                    <a:pt x="3245827" y="498122"/>
                    <a:pt x="3220883" y="457212"/>
                  </a:cubicBezTo>
                  <a:lnTo>
                    <a:pt x="578789" y="1513247"/>
                  </a:lnTo>
                  <a:cubicBezTo>
                    <a:pt x="588969" y="1560087"/>
                    <a:pt x="584413" y="1607505"/>
                    <a:pt x="567572" y="1649378"/>
                  </a:cubicBezTo>
                  <a:cubicBezTo>
                    <a:pt x="550691" y="1691398"/>
                    <a:pt x="521417" y="1727872"/>
                    <a:pt x="482229" y="1752787"/>
                  </a:cubicBezTo>
                  <a:lnTo>
                    <a:pt x="885097" y="2760717"/>
                  </a:lnTo>
                  <a:cubicBezTo>
                    <a:pt x="930605" y="2751723"/>
                    <a:pt x="976945" y="2758003"/>
                    <a:pt x="1018201" y="2776823"/>
                  </a:cubicBezTo>
                  <a:cubicBezTo>
                    <a:pt x="1059300" y="2795546"/>
                    <a:pt x="1095314" y="2826769"/>
                    <a:pt x="1120229" y="2867682"/>
                  </a:cubicBezTo>
                  <a:lnTo>
                    <a:pt x="2914086" y="2150649"/>
                  </a:lnTo>
                  <a:close/>
                  <a:moveTo>
                    <a:pt x="4792119" y="972934"/>
                  </a:moveTo>
                  <a:cubicBezTo>
                    <a:pt x="4597754" y="778559"/>
                    <a:pt x="4329253" y="658358"/>
                    <a:pt x="4032655" y="658358"/>
                  </a:cubicBezTo>
                  <a:cubicBezTo>
                    <a:pt x="3736066" y="658358"/>
                    <a:pt x="3467546" y="778598"/>
                    <a:pt x="3273171" y="972934"/>
                  </a:cubicBezTo>
                  <a:cubicBezTo>
                    <a:pt x="3078795" y="1167309"/>
                    <a:pt x="2958594" y="1435810"/>
                    <a:pt x="2958594" y="1732409"/>
                  </a:cubicBezTo>
                  <a:cubicBezTo>
                    <a:pt x="2958594" y="2028998"/>
                    <a:pt x="3078834" y="2297547"/>
                    <a:pt x="3273171" y="2491883"/>
                  </a:cubicBezTo>
                  <a:cubicBezTo>
                    <a:pt x="3467546" y="2686258"/>
                    <a:pt x="3736046" y="2806460"/>
                    <a:pt x="4032655" y="2806460"/>
                  </a:cubicBezTo>
                  <a:cubicBezTo>
                    <a:pt x="4329244" y="2806460"/>
                    <a:pt x="4597783" y="2686219"/>
                    <a:pt x="4792119" y="2491883"/>
                  </a:cubicBezTo>
                  <a:cubicBezTo>
                    <a:pt x="4986505" y="2297508"/>
                    <a:pt x="5106696" y="2029007"/>
                    <a:pt x="5106696" y="1732409"/>
                  </a:cubicBezTo>
                  <a:cubicBezTo>
                    <a:pt x="5106696" y="1435820"/>
                    <a:pt x="4986495" y="1167270"/>
                    <a:pt x="4792119" y="972934"/>
                  </a:cubicBezTo>
                  <a:close/>
                  <a:moveTo>
                    <a:pt x="1967113" y="1311396"/>
                  </a:moveTo>
                  <a:cubicBezTo>
                    <a:pt x="1957630" y="1291576"/>
                    <a:pt x="1966006" y="1267808"/>
                    <a:pt x="1985836" y="1258315"/>
                  </a:cubicBezTo>
                  <a:cubicBezTo>
                    <a:pt x="2005655" y="1248822"/>
                    <a:pt x="2029423" y="1257208"/>
                    <a:pt x="2038916" y="1277028"/>
                  </a:cubicBezTo>
                  <a:lnTo>
                    <a:pt x="2077645" y="1358050"/>
                  </a:lnTo>
                  <a:cubicBezTo>
                    <a:pt x="2097699" y="1353191"/>
                    <a:pt x="2118518" y="1351123"/>
                    <a:pt x="2139445" y="1352074"/>
                  </a:cubicBezTo>
                  <a:cubicBezTo>
                    <a:pt x="2200795" y="1354984"/>
                    <a:pt x="2262213" y="1384189"/>
                    <a:pt x="2305732" y="1448820"/>
                  </a:cubicBezTo>
                  <a:cubicBezTo>
                    <a:pt x="2317978" y="1467082"/>
                    <a:pt x="2313080" y="1491840"/>
                    <a:pt x="2294789" y="1504086"/>
                  </a:cubicBezTo>
                  <a:cubicBezTo>
                    <a:pt x="2276497" y="1516333"/>
                    <a:pt x="2251779" y="1511434"/>
                    <a:pt x="2239533" y="1493143"/>
                  </a:cubicBezTo>
                  <a:cubicBezTo>
                    <a:pt x="2211817" y="1452005"/>
                    <a:pt x="2173549" y="1433439"/>
                    <a:pt x="2135663" y="1431636"/>
                  </a:cubicBezTo>
                  <a:cubicBezTo>
                    <a:pt x="2113267" y="1430608"/>
                    <a:pt x="2090802" y="1435281"/>
                    <a:pt x="2070405" y="1444461"/>
                  </a:cubicBezTo>
                  <a:cubicBezTo>
                    <a:pt x="2050124" y="1453651"/>
                    <a:pt x="2032294" y="1467151"/>
                    <a:pt x="2019087" y="1483845"/>
                  </a:cubicBezTo>
                  <a:cubicBezTo>
                    <a:pt x="1999228" y="1508985"/>
                    <a:pt x="1989735" y="1542128"/>
                    <a:pt x="1998611" y="1579132"/>
                  </a:cubicBezTo>
                  <a:cubicBezTo>
                    <a:pt x="2042395" y="1648437"/>
                    <a:pt x="2108829" y="1636005"/>
                    <a:pt x="2173353" y="1623905"/>
                  </a:cubicBezTo>
                  <a:cubicBezTo>
                    <a:pt x="2265926" y="1606535"/>
                    <a:pt x="2355825" y="1589694"/>
                    <a:pt x="2418164" y="1709522"/>
                  </a:cubicBezTo>
                  <a:cubicBezTo>
                    <a:pt x="2420574" y="1714108"/>
                    <a:pt x="2421956" y="1718938"/>
                    <a:pt x="2422494" y="1723836"/>
                  </a:cubicBezTo>
                  <a:cubicBezTo>
                    <a:pt x="2435848" y="1796276"/>
                    <a:pt x="2411277" y="1856293"/>
                    <a:pt x="2368796" y="1898274"/>
                  </a:cubicBezTo>
                  <a:cubicBezTo>
                    <a:pt x="2361488" y="1905505"/>
                    <a:pt x="2353640" y="1912127"/>
                    <a:pt x="2345342" y="1918211"/>
                  </a:cubicBezTo>
                  <a:lnTo>
                    <a:pt x="2387930" y="2007307"/>
                  </a:lnTo>
                  <a:cubicBezTo>
                    <a:pt x="2397424" y="2027126"/>
                    <a:pt x="2389047" y="2050894"/>
                    <a:pt x="2369218" y="2060388"/>
                  </a:cubicBezTo>
                  <a:cubicBezTo>
                    <a:pt x="2349398" y="2069871"/>
                    <a:pt x="2325630" y="2061495"/>
                    <a:pt x="2316137" y="2041665"/>
                  </a:cubicBezTo>
                  <a:lnTo>
                    <a:pt x="2273813" y="1953148"/>
                  </a:lnTo>
                  <a:cubicBezTo>
                    <a:pt x="2246675" y="1960917"/>
                    <a:pt x="2218244" y="1963641"/>
                    <a:pt x="2190763" y="1960731"/>
                  </a:cubicBezTo>
                  <a:cubicBezTo>
                    <a:pt x="2132940" y="1954529"/>
                    <a:pt x="2079438" y="1924139"/>
                    <a:pt x="2049586" y="1864131"/>
                  </a:cubicBezTo>
                  <a:cubicBezTo>
                    <a:pt x="2039789" y="1844390"/>
                    <a:pt x="2047832" y="1820426"/>
                    <a:pt x="2067534" y="1810590"/>
                  </a:cubicBezTo>
                  <a:cubicBezTo>
                    <a:pt x="2087246" y="1800763"/>
                    <a:pt x="2111239" y="1808797"/>
                    <a:pt x="2121036" y="1828538"/>
                  </a:cubicBezTo>
                  <a:cubicBezTo>
                    <a:pt x="2137339" y="1861339"/>
                    <a:pt x="2167004" y="1877984"/>
                    <a:pt x="2199188" y="1881433"/>
                  </a:cubicBezTo>
                  <a:cubicBezTo>
                    <a:pt x="2219164" y="1883579"/>
                    <a:pt x="2240170" y="1880894"/>
                    <a:pt x="2259881" y="1874046"/>
                  </a:cubicBezTo>
                  <a:cubicBezTo>
                    <a:pt x="2279672" y="1867159"/>
                    <a:pt x="2298110" y="1856098"/>
                    <a:pt x="2312884" y="1841519"/>
                  </a:cubicBezTo>
                  <a:cubicBezTo>
                    <a:pt x="2337073" y="1817634"/>
                    <a:pt x="2351269" y="1783422"/>
                    <a:pt x="2344764" y="1741824"/>
                  </a:cubicBezTo>
                  <a:cubicBezTo>
                    <a:pt x="2309367" y="1679592"/>
                    <a:pt x="2249516" y="1690771"/>
                    <a:pt x="2188010" y="1702282"/>
                  </a:cubicBezTo>
                  <a:cubicBezTo>
                    <a:pt x="2095701" y="1719584"/>
                    <a:pt x="2000639" y="1737415"/>
                    <a:pt x="1928650" y="1617478"/>
                  </a:cubicBezTo>
                  <a:cubicBezTo>
                    <a:pt x="1926201" y="1613922"/>
                    <a:pt x="1924251" y="1609905"/>
                    <a:pt x="1923026" y="1605506"/>
                  </a:cubicBezTo>
                  <a:cubicBezTo>
                    <a:pt x="1904500" y="1539523"/>
                    <a:pt x="1920920" y="1479829"/>
                    <a:pt x="1956630" y="1434595"/>
                  </a:cubicBezTo>
                  <a:cubicBezTo>
                    <a:pt x="1970170" y="1417411"/>
                    <a:pt x="1986512" y="1402480"/>
                    <a:pt x="2004695" y="1390194"/>
                  </a:cubicBezTo>
                  <a:lnTo>
                    <a:pt x="1967035" y="1311396"/>
                  </a:lnTo>
                  <a:close/>
                  <a:moveTo>
                    <a:pt x="3972785" y="964704"/>
                  </a:moveTo>
                  <a:cubicBezTo>
                    <a:pt x="3972785" y="931600"/>
                    <a:pt x="3999619" y="904775"/>
                    <a:pt x="4032723" y="904775"/>
                  </a:cubicBezTo>
                  <a:cubicBezTo>
                    <a:pt x="4065828" y="904775"/>
                    <a:pt x="4092652" y="931639"/>
                    <a:pt x="4092652" y="964704"/>
                  </a:cubicBezTo>
                  <a:lnTo>
                    <a:pt x="4092652" y="1149586"/>
                  </a:lnTo>
                  <a:cubicBezTo>
                    <a:pt x="4114774" y="1154289"/>
                    <a:pt x="4136622" y="1160687"/>
                    <a:pt x="4157823" y="1168759"/>
                  </a:cubicBezTo>
                  <a:cubicBezTo>
                    <a:pt x="4281012" y="1215756"/>
                    <a:pt x="4385068" y="1318891"/>
                    <a:pt x="4408757" y="1479172"/>
                  </a:cubicBezTo>
                  <a:cubicBezTo>
                    <a:pt x="4413548" y="1511895"/>
                    <a:pt x="4390926" y="1542275"/>
                    <a:pt x="4358165" y="1547066"/>
                  </a:cubicBezTo>
                  <a:cubicBezTo>
                    <a:pt x="4325443" y="1551847"/>
                    <a:pt x="4295062" y="1529226"/>
                    <a:pt x="4290271" y="1496513"/>
                  </a:cubicBezTo>
                  <a:cubicBezTo>
                    <a:pt x="4273861" y="1385227"/>
                    <a:pt x="4201224" y="1313493"/>
                    <a:pt x="4115186" y="1280662"/>
                  </a:cubicBezTo>
                  <a:cubicBezTo>
                    <a:pt x="4074704" y="1265203"/>
                    <a:pt x="4031528" y="1258129"/>
                    <a:pt x="3989851" y="1259354"/>
                  </a:cubicBezTo>
                  <a:cubicBezTo>
                    <a:pt x="3949056" y="1260539"/>
                    <a:pt x="3909759" y="1269680"/>
                    <a:pt x="3876038" y="1286717"/>
                  </a:cubicBezTo>
                  <a:cubicBezTo>
                    <a:pt x="3818793" y="1315570"/>
                    <a:pt x="3777763" y="1368993"/>
                    <a:pt x="3775578" y="1446645"/>
                  </a:cubicBezTo>
                  <a:cubicBezTo>
                    <a:pt x="3770836" y="1615646"/>
                    <a:pt x="3913766" y="1650740"/>
                    <a:pt x="4051965" y="1684648"/>
                  </a:cubicBezTo>
                  <a:cubicBezTo>
                    <a:pt x="4234897" y="1729577"/>
                    <a:pt x="4411745" y="1772969"/>
                    <a:pt x="4387321" y="2023374"/>
                  </a:cubicBezTo>
                  <a:cubicBezTo>
                    <a:pt x="4373664" y="2163708"/>
                    <a:pt x="4290809" y="2248630"/>
                    <a:pt x="4184716" y="2286212"/>
                  </a:cubicBezTo>
                  <a:cubicBezTo>
                    <a:pt x="4155403" y="2296616"/>
                    <a:pt x="4124327" y="2303161"/>
                    <a:pt x="4092603" y="2306110"/>
                  </a:cubicBezTo>
                  <a:lnTo>
                    <a:pt x="4092603" y="2500064"/>
                  </a:lnTo>
                  <a:cubicBezTo>
                    <a:pt x="4092603" y="2533168"/>
                    <a:pt x="4065779" y="2559993"/>
                    <a:pt x="4032674" y="2559993"/>
                  </a:cubicBezTo>
                  <a:cubicBezTo>
                    <a:pt x="3999570" y="2559993"/>
                    <a:pt x="3972745" y="2533168"/>
                    <a:pt x="3972745" y="2500064"/>
                  </a:cubicBezTo>
                  <a:lnTo>
                    <a:pt x="3972745" y="2300643"/>
                  </a:lnTo>
                  <a:cubicBezTo>
                    <a:pt x="3937877" y="2294324"/>
                    <a:pt x="3903744" y="2283998"/>
                    <a:pt x="3871746" y="2269909"/>
                  </a:cubicBezTo>
                  <a:cubicBezTo>
                    <a:pt x="3755062" y="2218513"/>
                    <a:pt x="3664517" y="2117632"/>
                    <a:pt x="3662332" y="1977866"/>
                  </a:cubicBezTo>
                  <a:cubicBezTo>
                    <a:pt x="3661794" y="1944918"/>
                    <a:pt x="3688119" y="1917751"/>
                    <a:pt x="3721115" y="1917251"/>
                  </a:cubicBezTo>
                  <a:cubicBezTo>
                    <a:pt x="3754063" y="1916752"/>
                    <a:pt x="3781231" y="1943047"/>
                    <a:pt x="3781730" y="1976034"/>
                  </a:cubicBezTo>
                  <a:cubicBezTo>
                    <a:pt x="3783073" y="2062367"/>
                    <a:pt x="3842884" y="2126440"/>
                    <a:pt x="3919998" y="2160377"/>
                  </a:cubicBezTo>
                  <a:cubicBezTo>
                    <a:pt x="3952985" y="2174877"/>
                    <a:pt x="3988813" y="2183988"/>
                    <a:pt x="4024631" y="2187123"/>
                  </a:cubicBezTo>
                  <a:cubicBezTo>
                    <a:pt x="4027276" y="2186741"/>
                    <a:pt x="4029951" y="2186594"/>
                    <a:pt x="4032704" y="2186594"/>
                  </a:cubicBezTo>
                  <a:cubicBezTo>
                    <a:pt x="4037681" y="2186594"/>
                    <a:pt x="4042462" y="2187202"/>
                    <a:pt x="4047096" y="2188309"/>
                  </a:cubicBezTo>
                  <a:cubicBezTo>
                    <a:pt x="4081239" y="2188926"/>
                    <a:pt x="4114725" y="2184106"/>
                    <a:pt x="4144989" y="2173388"/>
                  </a:cubicBezTo>
                  <a:cubicBezTo>
                    <a:pt x="4209552" y="2150502"/>
                    <a:pt x="4260027" y="2098450"/>
                    <a:pt x="4268452" y="2012156"/>
                  </a:cubicBezTo>
                  <a:cubicBezTo>
                    <a:pt x="4282844" y="1864513"/>
                    <a:pt x="4155364" y="1833162"/>
                    <a:pt x="4023445" y="1800793"/>
                  </a:cubicBezTo>
                  <a:cubicBezTo>
                    <a:pt x="3839249" y="1755559"/>
                    <a:pt x="3648705" y="1708788"/>
                    <a:pt x="3656209" y="1443393"/>
                  </a:cubicBezTo>
                  <a:cubicBezTo>
                    <a:pt x="3659815" y="1315687"/>
                    <a:pt x="3727631" y="1227660"/>
                    <a:pt x="3822222" y="1179938"/>
                  </a:cubicBezTo>
                  <a:cubicBezTo>
                    <a:pt x="3867690" y="1157013"/>
                    <a:pt x="3919429" y="1143845"/>
                    <a:pt x="3972814" y="1140553"/>
                  </a:cubicBezTo>
                  <a:lnTo>
                    <a:pt x="3972814" y="964665"/>
                  </a:lnTo>
                  <a:close/>
                  <a:moveTo>
                    <a:pt x="1931550" y="1064626"/>
                  </a:moveTo>
                  <a:cubicBezTo>
                    <a:pt x="2096690" y="998612"/>
                    <a:pt x="2272921" y="1005764"/>
                    <a:pt x="2424277" y="1070670"/>
                  </a:cubicBezTo>
                  <a:cubicBezTo>
                    <a:pt x="2575790" y="1135655"/>
                    <a:pt x="2702506" y="1258384"/>
                    <a:pt x="2768520" y="1423485"/>
                  </a:cubicBezTo>
                  <a:cubicBezTo>
                    <a:pt x="2834503" y="1588616"/>
                    <a:pt x="2827381" y="1764857"/>
                    <a:pt x="2762436" y="1916213"/>
                  </a:cubicBezTo>
                  <a:cubicBezTo>
                    <a:pt x="2697500" y="2067726"/>
                    <a:pt x="2574722" y="2194432"/>
                    <a:pt x="2409621" y="2260416"/>
                  </a:cubicBezTo>
                  <a:lnTo>
                    <a:pt x="2409582" y="2260337"/>
                  </a:lnTo>
                  <a:lnTo>
                    <a:pt x="2409435" y="2260416"/>
                  </a:lnTo>
                  <a:cubicBezTo>
                    <a:pt x="2244333" y="2326400"/>
                    <a:pt x="2068220" y="2319238"/>
                    <a:pt x="1916903" y="2254332"/>
                  </a:cubicBezTo>
                  <a:cubicBezTo>
                    <a:pt x="1765429" y="2189387"/>
                    <a:pt x="1638713" y="2066658"/>
                    <a:pt x="1572778" y="1901556"/>
                  </a:cubicBezTo>
                  <a:cubicBezTo>
                    <a:pt x="1506765" y="1736386"/>
                    <a:pt x="1513878" y="1560145"/>
                    <a:pt x="1578823" y="1408789"/>
                  </a:cubicBezTo>
                  <a:cubicBezTo>
                    <a:pt x="1643768" y="1257277"/>
                    <a:pt x="1766497" y="1130570"/>
                    <a:pt x="1931599" y="1064586"/>
                  </a:cubicBezTo>
                  <a:close/>
                  <a:moveTo>
                    <a:pt x="2393054" y="1144031"/>
                  </a:moveTo>
                  <a:cubicBezTo>
                    <a:pt x="2260293" y="1087090"/>
                    <a:pt x="2105831" y="1080781"/>
                    <a:pt x="1961176" y="1138604"/>
                  </a:cubicBezTo>
                  <a:cubicBezTo>
                    <a:pt x="1816512" y="1196427"/>
                    <a:pt x="1708968" y="1307409"/>
                    <a:pt x="1652106" y="1440062"/>
                  </a:cubicBezTo>
                  <a:cubicBezTo>
                    <a:pt x="1595194" y="1572823"/>
                    <a:pt x="1588846" y="1727275"/>
                    <a:pt x="1646668" y="1871900"/>
                  </a:cubicBezTo>
                  <a:cubicBezTo>
                    <a:pt x="1704491" y="2016604"/>
                    <a:pt x="1815473" y="2124138"/>
                    <a:pt x="1948087" y="2181010"/>
                  </a:cubicBezTo>
                  <a:cubicBezTo>
                    <a:pt x="2080613" y="2237843"/>
                    <a:pt x="2234771" y="2244270"/>
                    <a:pt x="2379161" y="2186830"/>
                  </a:cubicBezTo>
                  <a:lnTo>
                    <a:pt x="2379926" y="2186438"/>
                  </a:lnTo>
                  <a:cubicBezTo>
                    <a:pt x="2524629" y="2128615"/>
                    <a:pt x="2632163" y="2017643"/>
                    <a:pt x="2689035" y="1885019"/>
                  </a:cubicBezTo>
                  <a:cubicBezTo>
                    <a:pt x="2745976" y="1752258"/>
                    <a:pt x="2752295" y="1597806"/>
                    <a:pt x="2694473" y="1453141"/>
                  </a:cubicBezTo>
                  <a:cubicBezTo>
                    <a:pt x="2636640" y="1308447"/>
                    <a:pt x="2525668" y="1200914"/>
                    <a:pt x="2393015" y="1144031"/>
                  </a:cubicBezTo>
                  <a:close/>
                  <a:moveTo>
                    <a:pt x="1215329" y="1837943"/>
                  </a:moveTo>
                  <a:lnTo>
                    <a:pt x="1215486" y="1837875"/>
                  </a:lnTo>
                  <a:cubicBezTo>
                    <a:pt x="1264629" y="1818241"/>
                    <a:pt x="1317014" y="1820348"/>
                    <a:pt x="1361983" y="1839589"/>
                  </a:cubicBezTo>
                  <a:cubicBezTo>
                    <a:pt x="1407109" y="1858958"/>
                    <a:pt x="1444837" y="1895502"/>
                    <a:pt x="1464471" y="1944644"/>
                  </a:cubicBezTo>
                  <a:lnTo>
                    <a:pt x="1464393" y="1944683"/>
                  </a:lnTo>
                  <a:lnTo>
                    <a:pt x="1464471" y="1944879"/>
                  </a:lnTo>
                  <a:cubicBezTo>
                    <a:pt x="1484104" y="1994022"/>
                    <a:pt x="1481998" y="2046407"/>
                    <a:pt x="1462707" y="2091376"/>
                  </a:cubicBezTo>
                  <a:cubicBezTo>
                    <a:pt x="1443348" y="2136492"/>
                    <a:pt x="1406795" y="2174270"/>
                    <a:pt x="1357653" y="2193903"/>
                  </a:cubicBezTo>
                  <a:lnTo>
                    <a:pt x="1357427" y="2193942"/>
                  </a:lnTo>
                  <a:cubicBezTo>
                    <a:pt x="1308285" y="2213576"/>
                    <a:pt x="1255899" y="2211469"/>
                    <a:pt x="1210970" y="2192179"/>
                  </a:cubicBezTo>
                  <a:cubicBezTo>
                    <a:pt x="1165854" y="2172820"/>
                    <a:pt x="1128076" y="2136306"/>
                    <a:pt x="1108403" y="2087124"/>
                  </a:cubicBezTo>
                  <a:cubicBezTo>
                    <a:pt x="1088731" y="2037913"/>
                    <a:pt x="1090837" y="1985439"/>
                    <a:pt x="1110167" y="1940471"/>
                  </a:cubicBezTo>
                  <a:cubicBezTo>
                    <a:pt x="1129526" y="1895316"/>
                    <a:pt x="1166079" y="1857577"/>
                    <a:pt x="1215222" y="1837904"/>
                  </a:cubicBezTo>
                  <a:lnTo>
                    <a:pt x="1215261" y="1837983"/>
                  </a:lnTo>
                  <a:close/>
                  <a:moveTo>
                    <a:pt x="1330760" y="1912999"/>
                  </a:moveTo>
                  <a:cubicBezTo>
                    <a:pt x="1304581" y="1901782"/>
                    <a:pt x="1274191" y="1900400"/>
                    <a:pt x="1245720" y="1911500"/>
                  </a:cubicBezTo>
                  <a:lnTo>
                    <a:pt x="1244956" y="1911883"/>
                  </a:lnTo>
                  <a:cubicBezTo>
                    <a:pt x="1216211" y="1923365"/>
                    <a:pt x="1194853" y="1945369"/>
                    <a:pt x="1183606" y="1971665"/>
                  </a:cubicBezTo>
                  <a:cubicBezTo>
                    <a:pt x="1172281" y="1998068"/>
                    <a:pt x="1171017" y="2028762"/>
                    <a:pt x="1182460" y="2057429"/>
                  </a:cubicBezTo>
                  <a:cubicBezTo>
                    <a:pt x="1193942" y="2086203"/>
                    <a:pt x="1215947" y="2107522"/>
                    <a:pt x="1242232" y="2118779"/>
                  </a:cubicBezTo>
                  <a:cubicBezTo>
                    <a:pt x="1268410" y="2129987"/>
                    <a:pt x="1298801" y="2131368"/>
                    <a:pt x="1327272" y="2120268"/>
                  </a:cubicBezTo>
                  <a:lnTo>
                    <a:pt x="1328075" y="2119886"/>
                  </a:lnTo>
                  <a:cubicBezTo>
                    <a:pt x="1356781" y="2108403"/>
                    <a:pt x="1378138" y="2086399"/>
                    <a:pt x="1389425" y="2060143"/>
                  </a:cubicBezTo>
                  <a:cubicBezTo>
                    <a:pt x="1400633" y="2033965"/>
                    <a:pt x="1402014" y="2003623"/>
                    <a:pt x="1390914" y="1975103"/>
                  </a:cubicBezTo>
                  <a:lnTo>
                    <a:pt x="1390532" y="1974300"/>
                  </a:lnTo>
                  <a:cubicBezTo>
                    <a:pt x="1379049" y="1945604"/>
                    <a:pt x="1357045" y="1924246"/>
                    <a:pt x="1330789" y="1912960"/>
                  </a:cubicBezTo>
                  <a:close/>
                  <a:moveTo>
                    <a:pt x="2555304" y="4648460"/>
                  </a:moveTo>
                  <a:cubicBezTo>
                    <a:pt x="2562192" y="4653848"/>
                    <a:pt x="2568844" y="4659482"/>
                    <a:pt x="2575202" y="4665448"/>
                  </a:cubicBezTo>
                  <a:cubicBezTo>
                    <a:pt x="2626716" y="4713787"/>
                    <a:pt x="2658704" y="4780721"/>
                    <a:pt x="2658704" y="4854464"/>
                  </a:cubicBezTo>
                  <a:lnTo>
                    <a:pt x="2658704" y="4956149"/>
                  </a:lnTo>
                  <a:cubicBezTo>
                    <a:pt x="2658704" y="5029863"/>
                    <a:pt x="2626716" y="5096787"/>
                    <a:pt x="2575202" y="5145126"/>
                  </a:cubicBezTo>
                  <a:cubicBezTo>
                    <a:pt x="2524610" y="5192583"/>
                    <a:pt x="2455227" y="5222092"/>
                    <a:pt x="2379260" y="5222092"/>
                  </a:cubicBezTo>
                  <a:lnTo>
                    <a:pt x="526424" y="5222092"/>
                  </a:lnTo>
                  <a:cubicBezTo>
                    <a:pt x="450457" y="5222092"/>
                    <a:pt x="380995" y="5192622"/>
                    <a:pt x="330402" y="5145165"/>
                  </a:cubicBezTo>
                  <a:cubicBezTo>
                    <a:pt x="278928" y="5096865"/>
                    <a:pt x="246931" y="5029970"/>
                    <a:pt x="246931" y="4956188"/>
                  </a:cubicBezTo>
                  <a:lnTo>
                    <a:pt x="246931" y="4854503"/>
                  </a:lnTo>
                  <a:cubicBezTo>
                    <a:pt x="246931" y="4780682"/>
                    <a:pt x="278928" y="4713787"/>
                    <a:pt x="330402" y="4665487"/>
                  </a:cubicBezTo>
                  <a:cubicBezTo>
                    <a:pt x="336751" y="4659521"/>
                    <a:pt x="343374" y="4653848"/>
                    <a:pt x="350301" y="4648499"/>
                  </a:cubicBezTo>
                  <a:cubicBezTo>
                    <a:pt x="343413" y="4643140"/>
                    <a:pt x="336751" y="4637477"/>
                    <a:pt x="330442" y="4631501"/>
                  </a:cubicBezTo>
                  <a:cubicBezTo>
                    <a:pt x="278967" y="4583201"/>
                    <a:pt x="246970" y="4516306"/>
                    <a:pt x="246970" y="4442485"/>
                  </a:cubicBezTo>
                  <a:lnTo>
                    <a:pt x="246970" y="4340839"/>
                  </a:lnTo>
                  <a:cubicBezTo>
                    <a:pt x="246970" y="4267018"/>
                    <a:pt x="278967" y="4200123"/>
                    <a:pt x="330442" y="4151823"/>
                  </a:cubicBezTo>
                  <a:cubicBezTo>
                    <a:pt x="336751" y="4145895"/>
                    <a:pt x="343413" y="4140194"/>
                    <a:pt x="350301" y="4134874"/>
                  </a:cubicBezTo>
                  <a:cubicBezTo>
                    <a:pt x="343413" y="4129515"/>
                    <a:pt x="336751" y="4123852"/>
                    <a:pt x="330442" y="4117876"/>
                  </a:cubicBezTo>
                  <a:cubicBezTo>
                    <a:pt x="278928" y="4069586"/>
                    <a:pt x="246970" y="4002642"/>
                    <a:pt x="246970" y="3928860"/>
                  </a:cubicBezTo>
                  <a:lnTo>
                    <a:pt x="246970" y="3827214"/>
                  </a:lnTo>
                  <a:cubicBezTo>
                    <a:pt x="246970" y="3753393"/>
                    <a:pt x="278967" y="3686459"/>
                    <a:pt x="330442" y="3638159"/>
                  </a:cubicBezTo>
                  <a:cubicBezTo>
                    <a:pt x="380995" y="3590701"/>
                    <a:pt x="450417" y="3561280"/>
                    <a:pt x="526463" y="3561280"/>
                  </a:cubicBezTo>
                  <a:lnTo>
                    <a:pt x="2379299" y="3561280"/>
                  </a:lnTo>
                  <a:cubicBezTo>
                    <a:pt x="2455334" y="3561280"/>
                    <a:pt x="2524767" y="3590701"/>
                    <a:pt x="2575320" y="3638159"/>
                  </a:cubicBezTo>
                  <a:cubicBezTo>
                    <a:pt x="2626823" y="3686459"/>
                    <a:pt x="2658782" y="3753393"/>
                    <a:pt x="2658782" y="3827214"/>
                  </a:cubicBezTo>
                  <a:lnTo>
                    <a:pt x="2658782" y="3928860"/>
                  </a:lnTo>
                  <a:cubicBezTo>
                    <a:pt x="2658782" y="4002681"/>
                    <a:pt x="2626823" y="4069576"/>
                    <a:pt x="2575359" y="4117876"/>
                  </a:cubicBezTo>
                  <a:cubicBezTo>
                    <a:pt x="2569001" y="4123852"/>
                    <a:pt x="2562378" y="4129515"/>
                    <a:pt x="2555451" y="4134874"/>
                  </a:cubicBezTo>
                  <a:cubicBezTo>
                    <a:pt x="2562339" y="4140233"/>
                    <a:pt x="2568962" y="4145895"/>
                    <a:pt x="2575320" y="4151823"/>
                  </a:cubicBezTo>
                  <a:cubicBezTo>
                    <a:pt x="2626823" y="4200162"/>
                    <a:pt x="2658782" y="4267096"/>
                    <a:pt x="2658782" y="4340839"/>
                  </a:cubicBezTo>
                  <a:lnTo>
                    <a:pt x="2658782" y="4442485"/>
                  </a:lnTo>
                  <a:cubicBezTo>
                    <a:pt x="2658782" y="4516267"/>
                    <a:pt x="2626794" y="4583162"/>
                    <a:pt x="2575320" y="4631501"/>
                  </a:cubicBezTo>
                  <a:cubicBezTo>
                    <a:pt x="2568962" y="4637438"/>
                    <a:pt x="2562339" y="4643140"/>
                    <a:pt x="2555412" y="4648499"/>
                  </a:cubicBezTo>
                  <a:close/>
                  <a:moveTo>
                    <a:pt x="2493269" y="4752555"/>
                  </a:moveTo>
                  <a:cubicBezTo>
                    <a:pt x="2464260" y="4725338"/>
                    <a:pt x="2423885" y="4708389"/>
                    <a:pt x="2379211" y="4708389"/>
                  </a:cubicBezTo>
                  <a:lnTo>
                    <a:pt x="526385" y="4708389"/>
                  </a:lnTo>
                  <a:cubicBezTo>
                    <a:pt x="481680" y="4708389"/>
                    <a:pt x="441306" y="4725299"/>
                    <a:pt x="412297" y="4752515"/>
                  </a:cubicBezTo>
                  <a:cubicBezTo>
                    <a:pt x="384199" y="4778879"/>
                    <a:pt x="366789" y="4814972"/>
                    <a:pt x="366789" y="4854425"/>
                  </a:cubicBezTo>
                  <a:lnTo>
                    <a:pt x="366789" y="4956110"/>
                  </a:lnTo>
                  <a:cubicBezTo>
                    <a:pt x="366789" y="4995563"/>
                    <a:pt x="384238" y="5031655"/>
                    <a:pt x="412326" y="5057980"/>
                  </a:cubicBezTo>
                  <a:cubicBezTo>
                    <a:pt x="441375" y="5085226"/>
                    <a:pt x="481749" y="5102146"/>
                    <a:pt x="526375" y="5102146"/>
                  </a:cubicBezTo>
                  <a:lnTo>
                    <a:pt x="2379211" y="5102146"/>
                  </a:lnTo>
                  <a:cubicBezTo>
                    <a:pt x="2423836" y="5102146"/>
                    <a:pt x="2464171" y="5085187"/>
                    <a:pt x="2493220" y="5057941"/>
                  </a:cubicBezTo>
                  <a:cubicBezTo>
                    <a:pt x="2521318" y="5031577"/>
                    <a:pt x="2538806" y="4995484"/>
                    <a:pt x="2538806" y="4956071"/>
                  </a:cubicBezTo>
                  <a:lnTo>
                    <a:pt x="2538806" y="4854386"/>
                  </a:lnTo>
                  <a:cubicBezTo>
                    <a:pt x="2538806" y="4814962"/>
                    <a:pt x="2521357" y="4778879"/>
                    <a:pt x="2493220" y="4752476"/>
                  </a:cubicBezTo>
                  <a:close/>
                  <a:moveTo>
                    <a:pt x="2493269" y="4238890"/>
                  </a:moveTo>
                  <a:cubicBezTo>
                    <a:pt x="2464260" y="4211674"/>
                    <a:pt x="2423915" y="4194764"/>
                    <a:pt x="2379211" y="4194764"/>
                  </a:cubicBezTo>
                  <a:lnTo>
                    <a:pt x="526385" y="4194764"/>
                  </a:lnTo>
                  <a:cubicBezTo>
                    <a:pt x="481680" y="4194764"/>
                    <a:pt x="441306" y="4211674"/>
                    <a:pt x="412297" y="4238890"/>
                  </a:cubicBezTo>
                  <a:cubicBezTo>
                    <a:pt x="384199" y="4265215"/>
                    <a:pt x="366789" y="4301347"/>
                    <a:pt x="366789" y="4340800"/>
                  </a:cubicBezTo>
                  <a:lnTo>
                    <a:pt x="366789" y="4442445"/>
                  </a:lnTo>
                  <a:cubicBezTo>
                    <a:pt x="366789" y="4481938"/>
                    <a:pt x="384238" y="4518030"/>
                    <a:pt x="412297" y="4544355"/>
                  </a:cubicBezTo>
                  <a:cubicBezTo>
                    <a:pt x="441336" y="4571562"/>
                    <a:pt x="481680" y="4588521"/>
                    <a:pt x="526385" y="4588521"/>
                  </a:cubicBezTo>
                  <a:lnTo>
                    <a:pt x="2379211" y="4588521"/>
                  </a:lnTo>
                  <a:cubicBezTo>
                    <a:pt x="2423836" y="4588521"/>
                    <a:pt x="2464250" y="4571601"/>
                    <a:pt x="2493269" y="4544355"/>
                  </a:cubicBezTo>
                  <a:cubicBezTo>
                    <a:pt x="2521357" y="4517981"/>
                    <a:pt x="2538845" y="4481899"/>
                    <a:pt x="2538845" y="4442445"/>
                  </a:cubicBezTo>
                  <a:lnTo>
                    <a:pt x="2538845" y="4340800"/>
                  </a:lnTo>
                  <a:cubicBezTo>
                    <a:pt x="2538845" y="4301377"/>
                    <a:pt x="2521396" y="4265254"/>
                    <a:pt x="2493269" y="4238890"/>
                  </a:cubicBezTo>
                  <a:close/>
                  <a:moveTo>
                    <a:pt x="2379211" y="3681139"/>
                  </a:moveTo>
                  <a:lnTo>
                    <a:pt x="526385" y="3681139"/>
                  </a:lnTo>
                  <a:cubicBezTo>
                    <a:pt x="481680" y="3681139"/>
                    <a:pt x="441306" y="3698049"/>
                    <a:pt x="412297" y="3725265"/>
                  </a:cubicBezTo>
                  <a:cubicBezTo>
                    <a:pt x="384199" y="3751590"/>
                    <a:pt x="366789" y="3787722"/>
                    <a:pt x="366789" y="3827214"/>
                  </a:cubicBezTo>
                  <a:lnTo>
                    <a:pt x="366789" y="3928860"/>
                  </a:lnTo>
                  <a:cubicBezTo>
                    <a:pt x="366789" y="3968352"/>
                    <a:pt x="384199" y="4004435"/>
                    <a:pt x="412297" y="4030770"/>
                  </a:cubicBezTo>
                  <a:cubicBezTo>
                    <a:pt x="441296" y="4057976"/>
                    <a:pt x="481680" y="4074886"/>
                    <a:pt x="526385" y="4074886"/>
                  </a:cubicBezTo>
                  <a:lnTo>
                    <a:pt x="2379211" y="4074886"/>
                  </a:lnTo>
                  <a:cubicBezTo>
                    <a:pt x="2423915" y="4074886"/>
                    <a:pt x="2464289" y="4057976"/>
                    <a:pt x="2493308" y="4030770"/>
                  </a:cubicBezTo>
                  <a:cubicBezTo>
                    <a:pt x="2521396" y="4004435"/>
                    <a:pt x="2538806" y="3968313"/>
                    <a:pt x="2538806" y="3928860"/>
                  </a:cubicBezTo>
                  <a:lnTo>
                    <a:pt x="2538806" y="3827214"/>
                  </a:lnTo>
                  <a:cubicBezTo>
                    <a:pt x="2538806" y="3787712"/>
                    <a:pt x="2521357" y="3751590"/>
                    <a:pt x="2493308" y="3725265"/>
                  </a:cubicBezTo>
                  <a:cubicBezTo>
                    <a:pt x="2464299" y="3698049"/>
                    <a:pt x="2423925" y="3681139"/>
                    <a:pt x="2379211" y="3681139"/>
                  </a:cubicBezTo>
                  <a:close/>
                  <a:moveTo>
                    <a:pt x="4959788" y="3167475"/>
                  </a:moveTo>
                  <a:lnTo>
                    <a:pt x="3106942" y="3167475"/>
                  </a:lnTo>
                  <a:cubicBezTo>
                    <a:pt x="3062248" y="3167475"/>
                    <a:pt x="3021874" y="3184345"/>
                    <a:pt x="2992855" y="3211601"/>
                  </a:cubicBezTo>
                  <a:cubicBezTo>
                    <a:pt x="2964766" y="3237926"/>
                    <a:pt x="2947357" y="3274058"/>
                    <a:pt x="2947357" y="3313511"/>
                  </a:cubicBezTo>
                  <a:lnTo>
                    <a:pt x="2947357" y="3415156"/>
                  </a:lnTo>
                  <a:cubicBezTo>
                    <a:pt x="2947357" y="3454648"/>
                    <a:pt x="2964766" y="3490731"/>
                    <a:pt x="2992855" y="3517105"/>
                  </a:cubicBezTo>
                  <a:cubicBezTo>
                    <a:pt x="3021864" y="3544312"/>
                    <a:pt x="3062238" y="3561192"/>
                    <a:pt x="3106942" y="3561192"/>
                  </a:cubicBezTo>
                  <a:lnTo>
                    <a:pt x="4959788" y="3561192"/>
                  </a:lnTo>
                  <a:cubicBezTo>
                    <a:pt x="5004483" y="3561192"/>
                    <a:pt x="5044856" y="3544273"/>
                    <a:pt x="5073876" y="3517105"/>
                  </a:cubicBezTo>
                  <a:cubicBezTo>
                    <a:pt x="5101964" y="3490731"/>
                    <a:pt x="5119374" y="3454648"/>
                    <a:pt x="5119374" y="3415156"/>
                  </a:cubicBezTo>
                  <a:lnTo>
                    <a:pt x="5119374" y="3313511"/>
                  </a:lnTo>
                  <a:cubicBezTo>
                    <a:pt x="5119374" y="3274009"/>
                    <a:pt x="5101964" y="3237926"/>
                    <a:pt x="5073876" y="3211601"/>
                  </a:cubicBezTo>
                  <a:cubicBezTo>
                    <a:pt x="5044866" y="3184345"/>
                    <a:pt x="5004483" y="3167475"/>
                    <a:pt x="4959788" y="3167475"/>
                  </a:cubicBezTo>
                  <a:close/>
                  <a:moveTo>
                    <a:pt x="4959788" y="3681139"/>
                  </a:moveTo>
                  <a:lnTo>
                    <a:pt x="3106942" y="3681139"/>
                  </a:lnTo>
                  <a:cubicBezTo>
                    <a:pt x="3062248" y="3681139"/>
                    <a:pt x="3021874" y="3698049"/>
                    <a:pt x="2992855" y="3725265"/>
                  </a:cubicBezTo>
                  <a:cubicBezTo>
                    <a:pt x="2964766" y="3751629"/>
                    <a:pt x="2947357" y="3787722"/>
                    <a:pt x="2947357" y="3827214"/>
                  </a:cubicBezTo>
                  <a:lnTo>
                    <a:pt x="2947357" y="3928860"/>
                  </a:lnTo>
                  <a:cubicBezTo>
                    <a:pt x="2947357" y="3968352"/>
                    <a:pt x="2964805" y="4004435"/>
                    <a:pt x="2992894" y="4030770"/>
                  </a:cubicBezTo>
                  <a:cubicBezTo>
                    <a:pt x="3021903" y="4058015"/>
                    <a:pt x="3062277" y="4074925"/>
                    <a:pt x="3106942" y="4074925"/>
                  </a:cubicBezTo>
                  <a:lnTo>
                    <a:pt x="4959778" y="4074925"/>
                  </a:lnTo>
                  <a:cubicBezTo>
                    <a:pt x="5004443" y="4074925"/>
                    <a:pt x="5044817" y="4058015"/>
                    <a:pt x="5073827" y="4030770"/>
                  </a:cubicBezTo>
                  <a:cubicBezTo>
                    <a:pt x="5101954" y="4004395"/>
                    <a:pt x="5119413" y="3968313"/>
                    <a:pt x="5119413" y="3928860"/>
                  </a:cubicBezTo>
                  <a:lnTo>
                    <a:pt x="5119413" y="3827214"/>
                  </a:lnTo>
                  <a:cubicBezTo>
                    <a:pt x="5119413" y="3787751"/>
                    <a:pt x="5101954" y="3751629"/>
                    <a:pt x="5073866" y="3725265"/>
                  </a:cubicBezTo>
                  <a:cubicBezTo>
                    <a:pt x="5044856" y="3698010"/>
                    <a:pt x="5004483" y="3681100"/>
                    <a:pt x="4959817" y="3681100"/>
                  </a:cubicBezTo>
                  <a:close/>
                  <a:moveTo>
                    <a:pt x="5073836" y="4752555"/>
                  </a:moveTo>
                  <a:cubicBezTo>
                    <a:pt x="5044827" y="4725338"/>
                    <a:pt x="5004483" y="4708389"/>
                    <a:pt x="4959788" y="4708389"/>
                  </a:cubicBezTo>
                  <a:lnTo>
                    <a:pt x="3106942" y="4708389"/>
                  </a:lnTo>
                  <a:cubicBezTo>
                    <a:pt x="3062248" y="4708389"/>
                    <a:pt x="3021874" y="4725299"/>
                    <a:pt x="2992855" y="4752515"/>
                  </a:cubicBezTo>
                  <a:cubicBezTo>
                    <a:pt x="2964766" y="4778840"/>
                    <a:pt x="2947357" y="4814972"/>
                    <a:pt x="2947357" y="4854464"/>
                  </a:cubicBezTo>
                  <a:lnTo>
                    <a:pt x="2947357" y="4956071"/>
                  </a:lnTo>
                  <a:cubicBezTo>
                    <a:pt x="2947357" y="4995563"/>
                    <a:pt x="2964805" y="5031655"/>
                    <a:pt x="2992894" y="5057980"/>
                  </a:cubicBezTo>
                  <a:cubicBezTo>
                    <a:pt x="3021942" y="5085226"/>
                    <a:pt x="3062316" y="5102146"/>
                    <a:pt x="3106942" y="5102146"/>
                  </a:cubicBezTo>
                  <a:lnTo>
                    <a:pt x="4959778" y="5102146"/>
                  </a:lnTo>
                  <a:cubicBezTo>
                    <a:pt x="5004365" y="5102146"/>
                    <a:pt x="5044739" y="5085187"/>
                    <a:pt x="5073787" y="5057941"/>
                  </a:cubicBezTo>
                  <a:cubicBezTo>
                    <a:pt x="5101925" y="5031577"/>
                    <a:pt x="5119374" y="4995445"/>
                    <a:pt x="5119374" y="4956071"/>
                  </a:cubicBezTo>
                  <a:lnTo>
                    <a:pt x="5119374" y="4854464"/>
                  </a:lnTo>
                  <a:cubicBezTo>
                    <a:pt x="5119374" y="4815041"/>
                    <a:pt x="5101925" y="4778918"/>
                    <a:pt x="5073787" y="4752555"/>
                  </a:cubicBezTo>
                  <a:close/>
                  <a:moveTo>
                    <a:pt x="5073866" y="4238929"/>
                  </a:moveTo>
                  <a:cubicBezTo>
                    <a:pt x="5044866" y="4211713"/>
                    <a:pt x="5004483" y="4194764"/>
                    <a:pt x="4959817" y="4194764"/>
                  </a:cubicBezTo>
                  <a:lnTo>
                    <a:pt x="3106981" y="4194764"/>
                  </a:lnTo>
                  <a:cubicBezTo>
                    <a:pt x="3062287" y="4194764"/>
                    <a:pt x="3021913" y="4211674"/>
                    <a:pt x="2992894" y="4238890"/>
                  </a:cubicBezTo>
                  <a:cubicBezTo>
                    <a:pt x="2964805" y="4265254"/>
                    <a:pt x="2947396" y="4301347"/>
                    <a:pt x="2947396" y="4340839"/>
                  </a:cubicBezTo>
                  <a:lnTo>
                    <a:pt x="2947396" y="4442445"/>
                  </a:lnTo>
                  <a:cubicBezTo>
                    <a:pt x="2947396" y="4481938"/>
                    <a:pt x="2964845" y="4518030"/>
                    <a:pt x="2992894" y="4544355"/>
                  </a:cubicBezTo>
                  <a:cubicBezTo>
                    <a:pt x="3021942" y="4571601"/>
                    <a:pt x="3062316" y="4588521"/>
                    <a:pt x="3106981" y="4588521"/>
                  </a:cubicBezTo>
                  <a:lnTo>
                    <a:pt x="4959817" y="4588521"/>
                  </a:lnTo>
                  <a:cubicBezTo>
                    <a:pt x="5004443" y="4588521"/>
                    <a:pt x="5044856" y="4571601"/>
                    <a:pt x="5073866" y="4544355"/>
                  </a:cubicBezTo>
                  <a:cubicBezTo>
                    <a:pt x="5102003" y="4517981"/>
                    <a:pt x="5119452" y="4481899"/>
                    <a:pt x="5119452" y="4442445"/>
                  </a:cubicBezTo>
                  <a:lnTo>
                    <a:pt x="5119452" y="4340839"/>
                  </a:lnTo>
                  <a:cubicBezTo>
                    <a:pt x="5119452" y="4301377"/>
                    <a:pt x="5102003" y="4265254"/>
                    <a:pt x="5073905" y="4238929"/>
                  </a:cubicBezTo>
                  <a:close/>
                </a:path>
              </a:pathLst>
            </a:custGeom>
            <a:solidFill>
              <a:srgbClr val="1F4CB9"/>
            </a:solidFill>
            <a:ln w="97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30" name="Graphic 28">
            <a:extLst>
              <a:ext uri="{FF2B5EF4-FFF2-40B4-BE49-F238E27FC236}">
                <a16:creationId xmlns:a16="http://schemas.microsoft.com/office/drawing/2014/main" id="{74BE52A7-47D8-4C13-A15B-B68077B40513}"/>
              </a:ext>
            </a:extLst>
          </p:cNvPr>
          <p:cNvSpPr/>
          <p:nvPr/>
        </p:nvSpPr>
        <p:spPr>
          <a:xfrm>
            <a:off x="396272" y="2461034"/>
            <a:ext cx="620400" cy="620398"/>
          </a:xfrm>
          <a:custGeom>
            <a:avLst/>
            <a:gdLst>
              <a:gd name="connsiteX0" fmla="*/ 4115272 w 4732020"/>
              <a:gd name="connsiteY0" fmla="*/ 7758 h 4732020"/>
              <a:gd name="connsiteX1" fmla="*/ 4082704 w 4732020"/>
              <a:gd name="connsiteY1" fmla="*/ 23181 h 4732020"/>
              <a:gd name="connsiteX2" fmla="*/ 3314588 w 4732020"/>
              <a:gd name="connsiteY2" fmla="*/ 791297 h 4732020"/>
              <a:gd name="connsiteX3" fmla="*/ 3299165 w 4732020"/>
              <a:gd name="connsiteY3" fmla="*/ 830714 h 4732020"/>
              <a:gd name="connsiteX4" fmla="*/ 3299165 w 4732020"/>
              <a:gd name="connsiteY4" fmla="*/ 1355361 h 4732020"/>
              <a:gd name="connsiteX5" fmla="*/ 2944284 w 4732020"/>
              <a:gd name="connsiteY5" fmla="*/ 1710282 h 4732020"/>
              <a:gd name="connsiteX6" fmla="*/ 2092158 w 4732020"/>
              <a:gd name="connsiteY6" fmla="*/ 1379364 h 4732020"/>
              <a:gd name="connsiteX7" fmla="*/ 830286 w 4732020"/>
              <a:gd name="connsiteY7" fmla="*/ 2641236 h 4732020"/>
              <a:gd name="connsiteX8" fmla="*/ 2092158 w 4732020"/>
              <a:gd name="connsiteY8" fmla="*/ 3903108 h 4732020"/>
              <a:gd name="connsiteX9" fmla="*/ 3354030 w 4732020"/>
              <a:gd name="connsiteY9" fmla="*/ 2641236 h 4732020"/>
              <a:gd name="connsiteX10" fmla="*/ 3021426 w 4732020"/>
              <a:gd name="connsiteY10" fmla="*/ 1787435 h 4732020"/>
              <a:gd name="connsiteX11" fmla="*/ 3376308 w 4732020"/>
              <a:gd name="connsiteY11" fmla="*/ 1434238 h 4732020"/>
              <a:gd name="connsiteX12" fmla="*/ 3654077 w 4732020"/>
              <a:gd name="connsiteY12" fmla="*/ 1434238 h 4732020"/>
              <a:gd name="connsiteX13" fmla="*/ 4067281 w 4732020"/>
              <a:gd name="connsiteY13" fmla="*/ 2641246 h 4732020"/>
              <a:gd name="connsiteX14" fmla="*/ 2092177 w 4732020"/>
              <a:gd name="connsiteY14" fmla="*/ 4616350 h 4732020"/>
              <a:gd name="connsiteX15" fmla="*/ 117073 w 4732020"/>
              <a:gd name="connsiteY15" fmla="*/ 2641246 h 4732020"/>
              <a:gd name="connsiteX16" fmla="*/ 2092177 w 4732020"/>
              <a:gd name="connsiteY16" fmla="*/ 666142 h 4732020"/>
              <a:gd name="connsiteX17" fmla="*/ 3000862 w 4732020"/>
              <a:gd name="connsiteY17" fmla="*/ 887342 h 4732020"/>
              <a:gd name="connsiteX18" fmla="*/ 3043648 w 4732020"/>
              <a:gd name="connsiteY18" fmla="*/ 891973 h 4732020"/>
              <a:gd name="connsiteX19" fmla="*/ 3076637 w 4732020"/>
              <a:gd name="connsiteY19" fmla="*/ 864342 h 4732020"/>
              <a:gd name="connsiteX20" fmla="*/ 3079546 w 4732020"/>
              <a:gd name="connsiteY20" fmla="*/ 821441 h 4732020"/>
              <a:gd name="connsiteX21" fmla="*/ 3050576 w 4732020"/>
              <a:gd name="connsiteY21" fmla="*/ 789600 h 4732020"/>
              <a:gd name="connsiteX22" fmla="*/ 2092180 w 4732020"/>
              <a:gd name="connsiteY22" fmla="*/ 556418 h 4732020"/>
              <a:gd name="connsiteX23" fmla="*/ 7348 w 4732020"/>
              <a:gd name="connsiteY23" fmla="*/ 2641251 h 4732020"/>
              <a:gd name="connsiteX24" fmla="*/ 2092180 w 4732020"/>
              <a:gd name="connsiteY24" fmla="*/ 4726083 h 4732020"/>
              <a:gd name="connsiteX25" fmla="*/ 4177012 w 4732020"/>
              <a:gd name="connsiteY25" fmla="*/ 2641251 h 4732020"/>
              <a:gd name="connsiteX26" fmla="*/ 3791249 w 4732020"/>
              <a:gd name="connsiteY26" fmla="*/ 1434242 h 4732020"/>
              <a:gd name="connsiteX27" fmla="*/ 3902692 w 4732020"/>
              <a:gd name="connsiteY27" fmla="*/ 1434242 h 4732020"/>
              <a:gd name="connsiteX28" fmla="*/ 3942110 w 4732020"/>
              <a:gd name="connsiteY28" fmla="*/ 1418820 h 4732020"/>
              <a:gd name="connsiteX29" fmla="*/ 4710226 w 4732020"/>
              <a:gd name="connsiteY29" fmla="*/ 650704 h 4732020"/>
              <a:gd name="connsiteX30" fmla="*/ 4722701 w 4732020"/>
              <a:gd name="connsiteY30" fmla="*/ 590084 h 4732020"/>
              <a:gd name="connsiteX31" fmla="*/ 4670769 w 4732020"/>
              <a:gd name="connsiteY31" fmla="*/ 556407 h 4732020"/>
              <a:gd name="connsiteX32" fmla="*/ 4177012 w 4732020"/>
              <a:gd name="connsiteY32" fmla="*/ 556407 h 4732020"/>
              <a:gd name="connsiteX33" fmla="*/ 4177012 w 4732020"/>
              <a:gd name="connsiteY33" fmla="*/ 62650 h 4732020"/>
              <a:gd name="connsiteX34" fmla="*/ 4158604 w 4732020"/>
              <a:gd name="connsiteY34" fmla="*/ 21204 h 4732020"/>
              <a:gd name="connsiteX35" fmla="*/ 4115282 w 4732020"/>
              <a:gd name="connsiteY35" fmla="*/ 7771 h 4732020"/>
              <a:gd name="connsiteX36" fmla="*/ 4067281 w 4732020"/>
              <a:gd name="connsiteY36" fmla="*/ 196353 h 4732020"/>
              <a:gd name="connsiteX37" fmla="*/ 4067281 w 4732020"/>
              <a:gd name="connsiteY37" fmla="*/ 587279 h 4732020"/>
              <a:gd name="connsiteX38" fmla="*/ 3408884 w 4732020"/>
              <a:gd name="connsiteY38" fmla="*/ 1245637 h 4732020"/>
              <a:gd name="connsiteX39" fmla="*/ 3408884 w 4732020"/>
              <a:gd name="connsiteY39" fmla="*/ 854712 h 4732020"/>
              <a:gd name="connsiteX40" fmla="*/ 4144434 w 4732020"/>
              <a:gd name="connsiteY40" fmla="*/ 666117 h 4732020"/>
              <a:gd name="connsiteX41" fmla="*/ 4537045 w 4732020"/>
              <a:gd name="connsiteY41" fmla="*/ 666117 h 4732020"/>
              <a:gd name="connsiteX42" fmla="*/ 3878686 w 4732020"/>
              <a:gd name="connsiteY42" fmla="*/ 1324514 h 4732020"/>
              <a:gd name="connsiteX43" fmla="*/ 3486036 w 4732020"/>
              <a:gd name="connsiteY43" fmla="*/ 1324514 h 4732020"/>
              <a:gd name="connsiteX44" fmla="*/ 2092128 w 4732020"/>
              <a:gd name="connsiteY44" fmla="*/ 1489077 h 4732020"/>
              <a:gd name="connsiteX45" fmla="*/ 2865378 w 4732020"/>
              <a:gd name="connsiteY45" fmla="*/ 1789114 h 4732020"/>
              <a:gd name="connsiteX46" fmla="*/ 2359600 w 4732020"/>
              <a:gd name="connsiteY46" fmla="*/ 2294892 h 4732020"/>
              <a:gd name="connsiteX47" fmla="*/ 2092128 w 4732020"/>
              <a:gd name="connsiteY47" fmla="*/ 2202316 h 4732020"/>
              <a:gd name="connsiteX48" fmla="*/ 1653206 w 4732020"/>
              <a:gd name="connsiteY48" fmla="*/ 2641238 h 4732020"/>
              <a:gd name="connsiteX49" fmla="*/ 2092128 w 4732020"/>
              <a:gd name="connsiteY49" fmla="*/ 3080160 h 4732020"/>
              <a:gd name="connsiteX50" fmla="*/ 2531050 w 4732020"/>
              <a:gd name="connsiteY50" fmla="*/ 2641238 h 4732020"/>
              <a:gd name="connsiteX51" fmla="*/ 2438475 w 4732020"/>
              <a:gd name="connsiteY51" fmla="*/ 2372042 h 4732020"/>
              <a:gd name="connsiteX52" fmla="*/ 2944252 w 4732020"/>
              <a:gd name="connsiteY52" fmla="*/ 1866265 h 4732020"/>
              <a:gd name="connsiteX53" fmla="*/ 3244290 w 4732020"/>
              <a:gd name="connsiteY53" fmla="*/ 2641238 h 4732020"/>
              <a:gd name="connsiteX54" fmla="*/ 2092146 w 4732020"/>
              <a:gd name="connsiteY54" fmla="*/ 3793382 h 4732020"/>
              <a:gd name="connsiteX55" fmla="*/ 940002 w 4732020"/>
              <a:gd name="connsiteY55" fmla="*/ 2641238 h 4732020"/>
              <a:gd name="connsiteX56" fmla="*/ 2092146 w 4732020"/>
              <a:gd name="connsiteY56" fmla="*/ 1489094 h 4732020"/>
              <a:gd name="connsiteX57" fmla="*/ 2092128 w 4732020"/>
              <a:gd name="connsiteY57" fmla="*/ 2312037 h 4732020"/>
              <a:gd name="connsiteX58" fmla="*/ 2282448 w 4732020"/>
              <a:gd name="connsiteY58" fmla="*/ 2372044 h 4732020"/>
              <a:gd name="connsiteX59" fmla="*/ 2052714 w 4732020"/>
              <a:gd name="connsiteY59" fmla="*/ 2601817 h 4732020"/>
              <a:gd name="connsiteX60" fmla="*/ 2053786 w 4732020"/>
              <a:gd name="connsiteY60" fmla="*/ 2679581 h 4732020"/>
              <a:gd name="connsiteX61" fmla="*/ 2131551 w 4732020"/>
              <a:gd name="connsiteY61" fmla="*/ 2678969 h 4732020"/>
              <a:gd name="connsiteX62" fmla="*/ 2359599 w 4732020"/>
              <a:gd name="connsiteY62" fmla="*/ 2450921 h 4732020"/>
              <a:gd name="connsiteX63" fmla="*/ 2421329 w 4732020"/>
              <a:gd name="connsiteY63" fmla="*/ 2641240 h 4732020"/>
              <a:gd name="connsiteX64" fmla="*/ 2092125 w 4732020"/>
              <a:gd name="connsiteY64" fmla="*/ 2970444 h 4732020"/>
              <a:gd name="connsiteX65" fmla="*/ 1762922 w 4732020"/>
              <a:gd name="connsiteY65" fmla="*/ 2641240 h 4732020"/>
              <a:gd name="connsiteX66" fmla="*/ 2092125 w 4732020"/>
              <a:gd name="connsiteY66" fmla="*/ 2312037 h 4732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4732020" h="4732020">
                <a:moveTo>
                  <a:pt x="4115272" y="7758"/>
                </a:moveTo>
                <a:cubicBezTo>
                  <a:pt x="4102987" y="9098"/>
                  <a:pt x="4091506" y="14532"/>
                  <a:pt x="4082704" y="23181"/>
                </a:cubicBezTo>
                <a:lnTo>
                  <a:pt x="3314588" y="791297"/>
                </a:lnTo>
                <a:cubicBezTo>
                  <a:pt x="3304408" y="801821"/>
                  <a:pt x="3298821" y="816057"/>
                  <a:pt x="3299165" y="830714"/>
                </a:cubicBezTo>
                <a:lnTo>
                  <a:pt x="3299165" y="1355361"/>
                </a:lnTo>
                <a:lnTo>
                  <a:pt x="2944284" y="1710282"/>
                </a:lnTo>
                <a:cubicBezTo>
                  <a:pt x="2719596" y="1504464"/>
                  <a:pt x="2420293" y="1379364"/>
                  <a:pt x="2092158" y="1379364"/>
                </a:cubicBezTo>
                <a:cubicBezTo>
                  <a:pt x="1395914" y="1379364"/>
                  <a:pt x="830286" y="1944992"/>
                  <a:pt x="830286" y="2641236"/>
                </a:cubicBezTo>
                <a:cubicBezTo>
                  <a:pt x="830286" y="3337480"/>
                  <a:pt x="1395914" y="3903108"/>
                  <a:pt x="2092158" y="3903108"/>
                </a:cubicBezTo>
                <a:cubicBezTo>
                  <a:pt x="2788402" y="3903108"/>
                  <a:pt x="3354030" y="3337480"/>
                  <a:pt x="3354030" y="2641236"/>
                </a:cubicBezTo>
                <a:cubicBezTo>
                  <a:pt x="3354030" y="2312268"/>
                  <a:pt x="3228195" y="2012269"/>
                  <a:pt x="3021426" y="1787435"/>
                </a:cubicBezTo>
                <a:lnTo>
                  <a:pt x="3376308" y="1434238"/>
                </a:lnTo>
                <a:lnTo>
                  <a:pt x="3654077" y="1434238"/>
                </a:lnTo>
                <a:cubicBezTo>
                  <a:pt x="3912937" y="1768301"/>
                  <a:pt x="4067281" y="2185669"/>
                  <a:pt x="4067281" y="2641246"/>
                </a:cubicBezTo>
                <a:cubicBezTo>
                  <a:pt x="4067281" y="3732746"/>
                  <a:pt x="3183628" y="4616350"/>
                  <a:pt x="2092177" y="4616350"/>
                </a:cubicBezTo>
                <a:cubicBezTo>
                  <a:pt x="1000726" y="4616350"/>
                  <a:pt x="117073" y="3732697"/>
                  <a:pt x="117073" y="2641246"/>
                </a:cubicBezTo>
                <a:cubicBezTo>
                  <a:pt x="117073" y="1549795"/>
                  <a:pt x="1000726" y="666142"/>
                  <a:pt x="2092177" y="666142"/>
                </a:cubicBezTo>
                <a:cubicBezTo>
                  <a:pt x="2419999" y="666142"/>
                  <a:pt x="2729148" y="746127"/>
                  <a:pt x="3000862" y="887342"/>
                </a:cubicBezTo>
                <a:cubicBezTo>
                  <a:pt x="3013874" y="894651"/>
                  <a:pt x="3029335" y="896335"/>
                  <a:pt x="3043648" y="891973"/>
                </a:cubicBezTo>
                <a:cubicBezTo>
                  <a:pt x="3057923" y="887648"/>
                  <a:pt x="3069863" y="877660"/>
                  <a:pt x="3076637" y="864342"/>
                </a:cubicBezTo>
                <a:cubicBezTo>
                  <a:pt x="3083411" y="851062"/>
                  <a:pt x="3084444" y="835524"/>
                  <a:pt x="3079546" y="821441"/>
                </a:cubicBezTo>
                <a:cubicBezTo>
                  <a:pt x="3074609" y="807319"/>
                  <a:pt x="3064161" y="795838"/>
                  <a:pt x="3050576" y="789600"/>
                </a:cubicBezTo>
                <a:cubicBezTo>
                  <a:pt x="2763706" y="640498"/>
                  <a:pt x="2437833" y="556418"/>
                  <a:pt x="2092180" y="556418"/>
                </a:cubicBezTo>
                <a:cubicBezTo>
                  <a:pt x="941408" y="556418"/>
                  <a:pt x="7348" y="1490478"/>
                  <a:pt x="7348" y="2641251"/>
                </a:cubicBezTo>
                <a:cubicBezTo>
                  <a:pt x="7348" y="3792023"/>
                  <a:pt x="941408" y="4726083"/>
                  <a:pt x="2092180" y="4726083"/>
                </a:cubicBezTo>
                <a:cubicBezTo>
                  <a:pt x="3242952" y="4726083"/>
                  <a:pt x="4177012" y="3792023"/>
                  <a:pt x="4177012" y="2641251"/>
                </a:cubicBezTo>
                <a:cubicBezTo>
                  <a:pt x="4177012" y="2191425"/>
                  <a:pt x="4033729" y="1774850"/>
                  <a:pt x="3791249" y="1434242"/>
                </a:cubicBezTo>
                <a:lnTo>
                  <a:pt x="3902692" y="1434242"/>
                </a:lnTo>
                <a:cubicBezTo>
                  <a:pt x="3917349" y="1434587"/>
                  <a:pt x="3931586" y="1428999"/>
                  <a:pt x="3942110" y="1418820"/>
                </a:cubicBezTo>
                <a:lnTo>
                  <a:pt x="4710226" y="650704"/>
                </a:lnTo>
                <a:cubicBezTo>
                  <a:pt x="4726452" y="635013"/>
                  <a:pt x="4731389" y="610942"/>
                  <a:pt x="4722701" y="590084"/>
                </a:cubicBezTo>
                <a:cubicBezTo>
                  <a:pt x="4713976" y="569265"/>
                  <a:pt x="4693348" y="555871"/>
                  <a:pt x="4670769" y="556407"/>
                </a:cubicBezTo>
                <a:lnTo>
                  <a:pt x="4177012" y="556407"/>
                </a:lnTo>
                <a:lnTo>
                  <a:pt x="4177012" y="62650"/>
                </a:lnTo>
                <a:cubicBezTo>
                  <a:pt x="4177127" y="46806"/>
                  <a:pt x="4170430" y="31729"/>
                  <a:pt x="4158604" y="21204"/>
                </a:cubicBezTo>
                <a:cubicBezTo>
                  <a:pt x="4146779" y="10679"/>
                  <a:pt x="4130973" y="5819"/>
                  <a:pt x="4115282" y="7771"/>
                </a:cubicBezTo>
                <a:close/>
                <a:moveTo>
                  <a:pt x="4067281" y="196353"/>
                </a:moveTo>
                <a:lnTo>
                  <a:pt x="4067281" y="587279"/>
                </a:lnTo>
                <a:lnTo>
                  <a:pt x="3408884" y="1245637"/>
                </a:lnTo>
                <a:lnTo>
                  <a:pt x="3408884" y="854712"/>
                </a:lnTo>
                <a:close/>
                <a:moveTo>
                  <a:pt x="4144434" y="666117"/>
                </a:moveTo>
                <a:lnTo>
                  <a:pt x="4537045" y="666117"/>
                </a:lnTo>
                <a:lnTo>
                  <a:pt x="3878686" y="1324514"/>
                </a:lnTo>
                <a:lnTo>
                  <a:pt x="3486036" y="1324514"/>
                </a:lnTo>
                <a:close/>
                <a:moveTo>
                  <a:pt x="2092128" y="1489077"/>
                </a:moveTo>
                <a:cubicBezTo>
                  <a:pt x="2390480" y="1489077"/>
                  <a:pt x="2660970" y="1603615"/>
                  <a:pt x="2865378" y="1789114"/>
                </a:cubicBezTo>
                <a:lnTo>
                  <a:pt x="2359600" y="2294892"/>
                </a:lnTo>
                <a:cubicBezTo>
                  <a:pt x="2285471" y="2237678"/>
                  <a:pt x="2192706" y="2202316"/>
                  <a:pt x="2092128" y="2202316"/>
                </a:cubicBezTo>
                <a:cubicBezTo>
                  <a:pt x="1850374" y="2202316"/>
                  <a:pt x="1653206" y="2399484"/>
                  <a:pt x="1653206" y="2641238"/>
                </a:cubicBezTo>
                <a:cubicBezTo>
                  <a:pt x="1653206" y="2882993"/>
                  <a:pt x="1850374" y="3080160"/>
                  <a:pt x="2092128" y="3080160"/>
                </a:cubicBezTo>
                <a:cubicBezTo>
                  <a:pt x="2333883" y="3080160"/>
                  <a:pt x="2531050" y="2882993"/>
                  <a:pt x="2531050" y="2641238"/>
                </a:cubicBezTo>
                <a:cubicBezTo>
                  <a:pt x="2531050" y="2540171"/>
                  <a:pt x="2496186" y="2446363"/>
                  <a:pt x="2438475" y="2372042"/>
                </a:cubicBezTo>
                <a:lnTo>
                  <a:pt x="2944252" y="1866265"/>
                </a:lnTo>
                <a:cubicBezTo>
                  <a:pt x="3130241" y="2070780"/>
                  <a:pt x="3244290" y="2342425"/>
                  <a:pt x="3244290" y="2641238"/>
                </a:cubicBezTo>
                <a:cubicBezTo>
                  <a:pt x="3244290" y="3278209"/>
                  <a:pt x="2729097" y="3793382"/>
                  <a:pt x="2092146" y="3793382"/>
                </a:cubicBezTo>
                <a:cubicBezTo>
                  <a:pt x="1455194" y="3793382"/>
                  <a:pt x="940002" y="3278190"/>
                  <a:pt x="940002" y="2641238"/>
                </a:cubicBezTo>
                <a:cubicBezTo>
                  <a:pt x="940002" y="2004287"/>
                  <a:pt x="1455194" y="1489094"/>
                  <a:pt x="2092146" y="1489094"/>
                </a:cubicBezTo>
                <a:close/>
                <a:moveTo>
                  <a:pt x="2092128" y="2312037"/>
                </a:moveTo>
                <a:cubicBezTo>
                  <a:pt x="2162852" y="2312037"/>
                  <a:pt x="2228906" y="2334425"/>
                  <a:pt x="2282448" y="2372044"/>
                </a:cubicBezTo>
                <a:lnTo>
                  <a:pt x="2052714" y="2601817"/>
                </a:lnTo>
                <a:cubicBezTo>
                  <a:pt x="2031628" y="2623631"/>
                  <a:pt x="2032086" y="2658379"/>
                  <a:pt x="2053786" y="2679581"/>
                </a:cubicBezTo>
                <a:cubicBezTo>
                  <a:pt x="2075485" y="2700783"/>
                  <a:pt x="2110234" y="2700515"/>
                  <a:pt x="2131551" y="2678969"/>
                </a:cubicBezTo>
                <a:lnTo>
                  <a:pt x="2359599" y="2450921"/>
                </a:lnTo>
                <a:cubicBezTo>
                  <a:pt x="2397601" y="2504614"/>
                  <a:pt x="2421329" y="2570133"/>
                  <a:pt x="2421329" y="2641240"/>
                </a:cubicBezTo>
                <a:cubicBezTo>
                  <a:pt x="2421329" y="2823673"/>
                  <a:pt x="2274597" y="2970444"/>
                  <a:pt x="2092125" y="2970444"/>
                </a:cubicBezTo>
                <a:cubicBezTo>
                  <a:pt x="1909653" y="2970444"/>
                  <a:pt x="1762922" y="2823683"/>
                  <a:pt x="1762922" y="2641240"/>
                </a:cubicBezTo>
                <a:cubicBezTo>
                  <a:pt x="1762922" y="2458768"/>
                  <a:pt x="1909653" y="2312037"/>
                  <a:pt x="2092125" y="2312037"/>
                </a:cubicBezTo>
                <a:close/>
              </a:path>
            </a:pathLst>
          </a:custGeom>
          <a:solidFill>
            <a:srgbClr val="1F4CB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120781B-B58A-5401-3511-2DA27D9372E3}"/>
              </a:ext>
            </a:extLst>
          </p:cNvPr>
          <p:cNvSpPr txBox="1"/>
          <p:nvPr/>
        </p:nvSpPr>
        <p:spPr>
          <a:xfrm>
            <a:off x="1357162" y="6145533"/>
            <a:ext cx="2257493" cy="1442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IN" sz="1400" dirty="0">
                <a:latin typeface="Georgia" panose="02040502050405020303" pitchFamily="18" charset="0"/>
              </a:rPr>
              <a:t>This is when the expenses and income balance each other out and you as a business owner no longer need to invest your own money to run the business. </a:t>
            </a:r>
            <a:endParaRPr lang="en-US" sz="1400" b="1" dirty="0">
              <a:solidFill>
                <a:srgbClr val="FF9629"/>
              </a:solidFill>
              <a:latin typeface="Georgia" panose="02040502050405020303" pitchFamily="18" charset="0"/>
            </a:endParaRPr>
          </a:p>
        </p:txBody>
      </p:sp>
      <p:sp>
        <p:nvSpPr>
          <p:cNvPr id="34" name="Graphic 32">
            <a:extLst>
              <a:ext uri="{FF2B5EF4-FFF2-40B4-BE49-F238E27FC236}">
                <a16:creationId xmlns:a16="http://schemas.microsoft.com/office/drawing/2014/main" id="{8FFE7836-0D3B-464F-8FA2-25F0E6B57CD0}"/>
              </a:ext>
            </a:extLst>
          </p:cNvPr>
          <p:cNvSpPr/>
          <p:nvPr/>
        </p:nvSpPr>
        <p:spPr>
          <a:xfrm>
            <a:off x="396272" y="6145533"/>
            <a:ext cx="718394" cy="659578"/>
          </a:xfrm>
          <a:custGeom>
            <a:avLst/>
            <a:gdLst>
              <a:gd name="connsiteX0" fmla="*/ 4986222 w 5025934"/>
              <a:gd name="connsiteY0" fmla="*/ 2693935 h 4614454"/>
              <a:gd name="connsiteX1" fmla="*/ 4847034 w 5025934"/>
              <a:gd name="connsiteY1" fmla="*/ 2693935 h 4614454"/>
              <a:gd name="connsiteX2" fmla="*/ 4242982 w 5025934"/>
              <a:gd name="connsiteY2" fmla="*/ 1037826 h 4614454"/>
              <a:gd name="connsiteX3" fmla="*/ 4333299 w 5025934"/>
              <a:gd name="connsiteY3" fmla="*/ 893740 h 4614454"/>
              <a:gd name="connsiteX4" fmla="*/ 4251019 w 5025934"/>
              <a:gd name="connsiteY4" fmla="*/ 893740 h 4614454"/>
              <a:gd name="connsiteX5" fmla="*/ 4214585 w 5025934"/>
              <a:gd name="connsiteY5" fmla="*/ 960023 h 4614454"/>
              <a:gd name="connsiteX6" fmla="*/ 4207161 w 5025934"/>
              <a:gd name="connsiteY6" fmla="*/ 939664 h 4614454"/>
              <a:gd name="connsiteX7" fmla="*/ 4168470 w 5025934"/>
              <a:gd name="connsiteY7" fmla="*/ 912607 h 4614454"/>
              <a:gd name="connsiteX8" fmla="*/ 4129779 w 5025934"/>
              <a:gd name="connsiteY8" fmla="*/ 939664 h 4614454"/>
              <a:gd name="connsiteX9" fmla="*/ 4123924 w 5025934"/>
              <a:gd name="connsiteY9" fmla="*/ 955890 h 4614454"/>
              <a:gd name="connsiteX10" fmla="*/ 4093040 w 5025934"/>
              <a:gd name="connsiteY10" fmla="*/ 893662 h 4614454"/>
              <a:gd name="connsiteX11" fmla="*/ 4051900 w 5025934"/>
              <a:gd name="connsiteY11" fmla="*/ 852522 h 4614454"/>
              <a:gd name="connsiteX12" fmla="*/ 2734086 w 5025934"/>
              <a:gd name="connsiteY12" fmla="*/ 852560 h 4614454"/>
              <a:gd name="connsiteX13" fmla="*/ 2734086 w 5025934"/>
              <a:gd name="connsiteY13" fmla="*/ 742117 h 4614454"/>
              <a:gd name="connsiteX14" fmla="*/ 2692946 w 5025934"/>
              <a:gd name="connsiteY14" fmla="*/ 700977 h 4614454"/>
              <a:gd name="connsiteX15" fmla="*/ 2600409 w 5025934"/>
              <a:gd name="connsiteY15" fmla="*/ 700977 h 4614454"/>
              <a:gd name="connsiteX16" fmla="*/ 2729379 w 5025934"/>
              <a:gd name="connsiteY16" fmla="*/ 531673 h 4614454"/>
              <a:gd name="connsiteX17" fmla="*/ 2735043 w 5025934"/>
              <a:gd name="connsiteY17" fmla="*/ 491833 h 4614454"/>
              <a:gd name="connsiteX18" fmla="*/ 2555745 w 5025934"/>
              <a:gd name="connsiteY18" fmla="*/ 31142 h 4614454"/>
              <a:gd name="connsiteX19" fmla="*/ 2479052 w 5025934"/>
              <a:gd name="connsiteY19" fmla="*/ 31142 h 4614454"/>
              <a:gd name="connsiteX20" fmla="*/ 2299794 w 5025934"/>
              <a:gd name="connsiteY20" fmla="*/ 491833 h 4614454"/>
              <a:gd name="connsiteX21" fmla="*/ 2305458 w 5025934"/>
              <a:gd name="connsiteY21" fmla="*/ 531673 h 4614454"/>
              <a:gd name="connsiteX22" fmla="*/ 2434388 w 5025934"/>
              <a:gd name="connsiteY22" fmla="*/ 700977 h 4614454"/>
              <a:gd name="connsiteX23" fmla="*/ 2341775 w 5025934"/>
              <a:gd name="connsiteY23" fmla="*/ 700977 h 4614454"/>
              <a:gd name="connsiteX24" fmla="*/ 2300635 w 5025934"/>
              <a:gd name="connsiteY24" fmla="*/ 742117 h 4614454"/>
              <a:gd name="connsiteX25" fmla="*/ 2300635 w 5025934"/>
              <a:gd name="connsiteY25" fmla="*/ 852560 h 4614454"/>
              <a:gd name="connsiteX26" fmla="*/ 982821 w 5025934"/>
              <a:gd name="connsiteY26" fmla="*/ 852560 h 4614454"/>
              <a:gd name="connsiteX27" fmla="*/ 941681 w 5025934"/>
              <a:gd name="connsiteY27" fmla="*/ 893701 h 4614454"/>
              <a:gd name="connsiteX28" fmla="*/ 907391 w 5025934"/>
              <a:gd name="connsiteY28" fmla="*/ 958721 h 4614454"/>
              <a:gd name="connsiteX29" fmla="*/ 900426 w 5025934"/>
              <a:gd name="connsiteY29" fmla="*/ 939701 h 4614454"/>
              <a:gd name="connsiteX30" fmla="*/ 861735 w 5025934"/>
              <a:gd name="connsiteY30" fmla="*/ 912644 h 4614454"/>
              <a:gd name="connsiteX31" fmla="*/ 823044 w 5025934"/>
              <a:gd name="connsiteY31" fmla="*/ 939701 h 4614454"/>
              <a:gd name="connsiteX32" fmla="*/ 816576 w 5025934"/>
              <a:gd name="connsiteY32" fmla="*/ 957497 h 4614454"/>
              <a:gd name="connsiteX33" fmla="*/ 783778 w 5025934"/>
              <a:gd name="connsiteY33" fmla="*/ 893701 h 4614454"/>
              <a:gd name="connsiteX34" fmla="*/ 701498 w 5025934"/>
              <a:gd name="connsiteY34" fmla="*/ 893701 h 4614454"/>
              <a:gd name="connsiteX35" fmla="*/ 788065 w 5025934"/>
              <a:gd name="connsiteY35" fmla="*/ 1035798 h 4614454"/>
              <a:gd name="connsiteX36" fmla="*/ 183395 w 5025934"/>
              <a:gd name="connsiteY36" fmla="*/ 2693867 h 4614454"/>
              <a:gd name="connsiteX37" fmla="*/ 48488 w 5025934"/>
              <a:gd name="connsiteY37" fmla="*/ 2693867 h 4614454"/>
              <a:gd name="connsiteX38" fmla="*/ 7348 w 5025934"/>
              <a:gd name="connsiteY38" fmla="*/ 2735007 h 4614454"/>
              <a:gd name="connsiteX39" fmla="*/ 864059 w 5025934"/>
              <a:gd name="connsiteY39" fmla="*/ 3180052 h 4614454"/>
              <a:gd name="connsiteX40" fmla="*/ 1720662 w 5025934"/>
              <a:gd name="connsiteY40" fmla="*/ 2735007 h 4614454"/>
              <a:gd name="connsiteX41" fmla="*/ 1679522 w 5025934"/>
              <a:gd name="connsiteY41" fmla="*/ 2693867 h 4614454"/>
              <a:gd name="connsiteX42" fmla="*/ 1540256 w 5025934"/>
              <a:gd name="connsiteY42" fmla="*/ 2693867 h 4614454"/>
              <a:gd name="connsiteX43" fmla="*/ 935929 w 5025934"/>
              <a:gd name="connsiteY43" fmla="*/ 1036974 h 4614454"/>
              <a:gd name="connsiteX44" fmla="*/ 1018669 w 5025934"/>
              <a:gd name="connsiteY44" fmla="*/ 934829 h 4614454"/>
              <a:gd name="connsiteX45" fmla="*/ 2300625 w 5025934"/>
              <a:gd name="connsiteY45" fmla="*/ 934829 h 4614454"/>
              <a:gd name="connsiteX46" fmla="*/ 2300625 w 5025934"/>
              <a:gd name="connsiteY46" fmla="*/ 1045272 h 4614454"/>
              <a:gd name="connsiteX47" fmla="*/ 2341765 w 5025934"/>
              <a:gd name="connsiteY47" fmla="*/ 1086412 h 4614454"/>
              <a:gd name="connsiteX48" fmla="*/ 2371731 w 5025934"/>
              <a:gd name="connsiteY48" fmla="*/ 1086412 h 4614454"/>
              <a:gd name="connsiteX49" fmla="*/ 2371731 w 5025934"/>
              <a:gd name="connsiteY49" fmla="*/ 3776904 h 4614454"/>
              <a:gd name="connsiteX50" fmla="*/ 2319492 w 5025934"/>
              <a:gd name="connsiteY50" fmla="*/ 3776904 h 4614454"/>
              <a:gd name="connsiteX51" fmla="*/ 2278352 w 5025934"/>
              <a:gd name="connsiteY51" fmla="*/ 3818044 h 4614454"/>
              <a:gd name="connsiteX52" fmla="*/ 2278352 w 5025934"/>
              <a:gd name="connsiteY52" fmla="*/ 3958653 h 4614454"/>
              <a:gd name="connsiteX53" fmla="*/ 1977472 w 5025934"/>
              <a:gd name="connsiteY53" fmla="*/ 3958653 h 4614454"/>
              <a:gd name="connsiteX54" fmla="*/ 1632201 w 5025934"/>
              <a:gd name="connsiteY54" fmla="*/ 4296007 h 4614454"/>
              <a:gd name="connsiteX55" fmla="*/ 1439129 w 5025934"/>
              <a:gd name="connsiteY55" fmla="*/ 4296007 h 4614454"/>
              <a:gd name="connsiteX56" fmla="*/ 1397989 w 5025934"/>
              <a:gd name="connsiteY56" fmla="*/ 4337148 h 4614454"/>
              <a:gd name="connsiteX57" fmla="*/ 1397989 w 5025934"/>
              <a:gd name="connsiteY57" fmla="*/ 4573504 h 4614454"/>
              <a:gd name="connsiteX58" fmla="*/ 1439129 w 5025934"/>
              <a:gd name="connsiteY58" fmla="*/ 4614644 h 4614454"/>
              <a:gd name="connsiteX59" fmla="*/ 3595480 w 5025934"/>
              <a:gd name="connsiteY59" fmla="*/ 4614644 h 4614454"/>
              <a:gd name="connsiteX60" fmla="*/ 3636620 w 5025934"/>
              <a:gd name="connsiteY60" fmla="*/ 4573504 h 4614454"/>
              <a:gd name="connsiteX61" fmla="*/ 3636620 w 5025934"/>
              <a:gd name="connsiteY61" fmla="*/ 4337148 h 4614454"/>
              <a:gd name="connsiteX62" fmla="*/ 3595480 w 5025934"/>
              <a:gd name="connsiteY62" fmla="*/ 4296007 h 4614454"/>
              <a:gd name="connsiteX63" fmla="*/ 3402290 w 5025934"/>
              <a:gd name="connsiteY63" fmla="*/ 4296007 h 4614454"/>
              <a:gd name="connsiteX64" fmla="*/ 3057098 w 5025934"/>
              <a:gd name="connsiteY64" fmla="*/ 3958653 h 4614454"/>
              <a:gd name="connsiteX65" fmla="*/ 2756218 w 5025934"/>
              <a:gd name="connsiteY65" fmla="*/ 3958653 h 4614454"/>
              <a:gd name="connsiteX66" fmla="*/ 2756256 w 5025934"/>
              <a:gd name="connsiteY66" fmla="*/ 3818044 h 4614454"/>
              <a:gd name="connsiteX67" fmla="*/ 2715116 w 5025934"/>
              <a:gd name="connsiteY67" fmla="*/ 3776904 h 4614454"/>
              <a:gd name="connsiteX68" fmla="*/ 2662954 w 5025934"/>
              <a:gd name="connsiteY68" fmla="*/ 3776904 h 4614454"/>
              <a:gd name="connsiteX69" fmla="*/ 2662954 w 5025934"/>
              <a:gd name="connsiteY69" fmla="*/ 1086412 h 4614454"/>
              <a:gd name="connsiteX70" fmla="*/ 2692919 w 5025934"/>
              <a:gd name="connsiteY70" fmla="*/ 1086412 h 4614454"/>
              <a:gd name="connsiteX71" fmla="*/ 2734060 w 5025934"/>
              <a:gd name="connsiteY71" fmla="*/ 1045272 h 4614454"/>
              <a:gd name="connsiteX72" fmla="*/ 2734060 w 5025934"/>
              <a:gd name="connsiteY72" fmla="*/ 934829 h 4614454"/>
              <a:gd name="connsiteX73" fmla="*/ 4016016 w 5025934"/>
              <a:gd name="connsiteY73" fmla="*/ 934829 h 4614454"/>
              <a:gd name="connsiteX74" fmla="*/ 4094929 w 5025934"/>
              <a:gd name="connsiteY74" fmla="*/ 1035289 h 4614454"/>
              <a:gd name="connsiteX75" fmla="*/ 3490112 w 5025934"/>
              <a:gd name="connsiteY75" fmla="*/ 2693847 h 4614454"/>
              <a:gd name="connsiteX76" fmla="*/ 3355205 w 5025934"/>
              <a:gd name="connsiteY76" fmla="*/ 2693847 h 4614454"/>
              <a:gd name="connsiteX77" fmla="*/ 3314065 w 5025934"/>
              <a:gd name="connsiteY77" fmla="*/ 2734987 h 4614454"/>
              <a:gd name="connsiteX78" fmla="*/ 4170776 w 5025934"/>
              <a:gd name="connsiteY78" fmla="*/ 3179993 h 4614454"/>
              <a:gd name="connsiteX79" fmla="*/ 5027301 w 5025934"/>
              <a:gd name="connsiteY79" fmla="*/ 2734987 h 4614454"/>
              <a:gd name="connsiteX80" fmla="*/ 4986238 w 5025934"/>
              <a:gd name="connsiteY80" fmla="*/ 2693847 h 4614454"/>
              <a:gd name="connsiteX81" fmla="*/ 2517342 w 5025934"/>
              <a:gd name="connsiteY81" fmla="*/ 159512 h 4614454"/>
              <a:gd name="connsiteX82" fmla="*/ 2649907 w 5025934"/>
              <a:gd name="connsiteY82" fmla="*/ 500159 h 4614454"/>
              <a:gd name="connsiteX83" fmla="*/ 2517342 w 5025934"/>
              <a:gd name="connsiteY83" fmla="*/ 674215 h 4614454"/>
              <a:gd name="connsiteX84" fmla="*/ 2384855 w 5025934"/>
              <a:gd name="connsiteY84" fmla="*/ 500198 h 4614454"/>
              <a:gd name="connsiteX85" fmla="*/ 820575 w 5025934"/>
              <a:gd name="connsiteY85" fmla="*/ 1186743 h 4614454"/>
              <a:gd name="connsiteX86" fmla="*/ 820575 w 5025934"/>
              <a:gd name="connsiteY86" fmla="*/ 2693935 h 4614454"/>
              <a:gd name="connsiteX87" fmla="*/ 271053 w 5025934"/>
              <a:gd name="connsiteY87" fmla="*/ 2693935 h 4614454"/>
              <a:gd name="connsiteX88" fmla="*/ 864011 w 5025934"/>
              <a:gd name="connsiteY88" fmla="*/ 3097773 h 4614454"/>
              <a:gd name="connsiteX89" fmla="*/ 94740 w 5025934"/>
              <a:gd name="connsiteY89" fmla="*/ 2776153 h 4614454"/>
              <a:gd name="connsiteX90" fmla="*/ 1633087 w 5025934"/>
              <a:gd name="connsiteY90" fmla="*/ 2776153 h 4614454"/>
              <a:gd name="connsiteX91" fmla="*/ 864011 w 5025934"/>
              <a:gd name="connsiteY91" fmla="*/ 3097773 h 4614454"/>
              <a:gd name="connsiteX92" fmla="*/ 902855 w 5025934"/>
              <a:gd name="connsiteY92" fmla="*/ 2693867 h 4614454"/>
              <a:gd name="connsiteX93" fmla="*/ 902855 w 5025934"/>
              <a:gd name="connsiteY93" fmla="*/ 1186674 h 4614454"/>
              <a:gd name="connsiteX94" fmla="*/ 1452524 w 5025934"/>
              <a:gd name="connsiteY94" fmla="*/ 2693867 h 4614454"/>
              <a:gd name="connsiteX95" fmla="*/ 3554354 w 5025934"/>
              <a:gd name="connsiteY95" fmla="*/ 4378388 h 4614454"/>
              <a:gd name="connsiteX96" fmla="*/ 3554354 w 5025934"/>
              <a:gd name="connsiteY96" fmla="*/ 4532467 h 4614454"/>
              <a:gd name="connsiteX97" fmla="*/ 1480299 w 5025934"/>
              <a:gd name="connsiteY97" fmla="*/ 4532429 h 4614454"/>
              <a:gd name="connsiteX98" fmla="*/ 1480299 w 5025934"/>
              <a:gd name="connsiteY98" fmla="*/ 4378349 h 4614454"/>
              <a:gd name="connsiteX99" fmla="*/ 3361448 w 5025934"/>
              <a:gd name="connsiteY99" fmla="*/ 4378349 h 4614454"/>
              <a:gd name="connsiteX100" fmla="*/ 2673953 w 5025934"/>
              <a:gd name="connsiteY100" fmla="*/ 3859256 h 4614454"/>
              <a:gd name="connsiteX101" fmla="*/ 2673953 w 5025934"/>
              <a:gd name="connsiteY101" fmla="*/ 3999865 h 4614454"/>
              <a:gd name="connsiteX102" fmla="*/ 2715093 w 5025934"/>
              <a:gd name="connsiteY102" fmla="*/ 4041005 h 4614454"/>
              <a:gd name="connsiteX103" fmla="*/ 3057112 w 5025934"/>
              <a:gd name="connsiteY103" fmla="*/ 4041005 h 4614454"/>
              <a:gd name="connsiteX104" fmla="*/ 3319303 w 5025934"/>
              <a:gd name="connsiteY104" fmla="*/ 4296074 h 4614454"/>
              <a:gd name="connsiteX105" fmla="*/ 1715216 w 5025934"/>
              <a:gd name="connsiteY105" fmla="*/ 4296112 h 4614454"/>
              <a:gd name="connsiteX106" fmla="*/ 1977486 w 5025934"/>
              <a:gd name="connsiteY106" fmla="*/ 4041044 h 4614454"/>
              <a:gd name="connsiteX107" fmla="*/ 2319465 w 5025934"/>
              <a:gd name="connsiteY107" fmla="*/ 4041044 h 4614454"/>
              <a:gd name="connsiteX108" fmla="*/ 2360605 w 5025934"/>
              <a:gd name="connsiteY108" fmla="*/ 3999904 h 4614454"/>
              <a:gd name="connsiteX109" fmla="*/ 2360567 w 5025934"/>
              <a:gd name="connsiteY109" fmla="*/ 3859265 h 4614454"/>
              <a:gd name="connsiteX110" fmla="*/ 2412805 w 5025934"/>
              <a:gd name="connsiteY110" fmla="*/ 3859265 h 4614454"/>
              <a:gd name="connsiteX111" fmla="*/ 2453946 w 5025934"/>
              <a:gd name="connsiteY111" fmla="*/ 3818125 h 4614454"/>
              <a:gd name="connsiteX112" fmla="*/ 2453946 w 5025934"/>
              <a:gd name="connsiteY112" fmla="*/ 1045338 h 4614454"/>
              <a:gd name="connsiteX113" fmla="*/ 2412805 w 5025934"/>
              <a:gd name="connsiteY113" fmla="*/ 1004198 h 4614454"/>
              <a:gd name="connsiteX114" fmla="*/ 2382916 w 5025934"/>
              <a:gd name="connsiteY114" fmla="*/ 1004198 h 4614454"/>
              <a:gd name="connsiteX115" fmla="*/ 2382916 w 5025934"/>
              <a:gd name="connsiteY115" fmla="*/ 783380 h 4614454"/>
              <a:gd name="connsiteX116" fmla="*/ 2651760 w 5025934"/>
              <a:gd name="connsiteY116" fmla="*/ 783380 h 4614454"/>
              <a:gd name="connsiteX117" fmla="*/ 2651760 w 5025934"/>
              <a:gd name="connsiteY117" fmla="*/ 1004198 h 4614454"/>
              <a:gd name="connsiteX118" fmla="*/ 2621794 w 5025934"/>
              <a:gd name="connsiteY118" fmla="*/ 1004198 h 4614454"/>
              <a:gd name="connsiteX119" fmla="*/ 2580654 w 5025934"/>
              <a:gd name="connsiteY119" fmla="*/ 1045338 h 4614454"/>
              <a:gd name="connsiteX120" fmla="*/ 2580654 w 5025934"/>
              <a:gd name="connsiteY120" fmla="*/ 3818125 h 4614454"/>
              <a:gd name="connsiteX121" fmla="*/ 2621794 w 5025934"/>
              <a:gd name="connsiteY121" fmla="*/ 3859265 h 4614454"/>
              <a:gd name="connsiteX122" fmla="*/ 4209656 w 5025934"/>
              <a:gd name="connsiteY122" fmla="*/ 1186694 h 4614454"/>
              <a:gd name="connsiteX123" fmla="*/ 4759442 w 5025934"/>
              <a:gd name="connsiteY123" fmla="*/ 2693886 h 4614454"/>
              <a:gd name="connsiteX124" fmla="*/ 4209656 w 5025934"/>
              <a:gd name="connsiteY124" fmla="*/ 2693886 h 4614454"/>
              <a:gd name="connsiteX125" fmla="*/ 4127337 w 5025934"/>
              <a:gd name="connsiteY125" fmla="*/ 1186694 h 4614454"/>
              <a:gd name="connsiteX126" fmla="*/ 4127337 w 5025934"/>
              <a:gd name="connsiteY126" fmla="*/ 2693886 h 4614454"/>
              <a:gd name="connsiteX127" fmla="*/ 3577737 w 5025934"/>
              <a:gd name="connsiteY127" fmla="*/ 2693886 h 4614454"/>
              <a:gd name="connsiteX128" fmla="*/ 4170850 w 5025934"/>
              <a:gd name="connsiteY128" fmla="*/ 3097822 h 4614454"/>
              <a:gd name="connsiteX129" fmla="*/ 3401578 w 5025934"/>
              <a:gd name="connsiteY129" fmla="*/ 2776202 h 4614454"/>
              <a:gd name="connsiteX130" fmla="*/ 4939828 w 5025934"/>
              <a:gd name="connsiteY130" fmla="*/ 2776202 h 4614454"/>
              <a:gd name="connsiteX131" fmla="*/ 4170869 w 5025934"/>
              <a:gd name="connsiteY131" fmla="*/ 3097822 h 4614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</a:cxnLst>
            <a:rect l="l" t="t" r="r" b="b"/>
            <a:pathLst>
              <a:path w="5025934" h="4614454">
                <a:moveTo>
                  <a:pt x="4986222" y="2693935"/>
                </a:moveTo>
                <a:lnTo>
                  <a:pt x="4847034" y="2693935"/>
                </a:lnTo>
                <a:lnTo>
                  <a:pt x="4242982" y="1037826"/>
                </a:lnTo>
                <a:cubicBezTo>
                  <a:pt x="4296254" y="1011496"/>
                  <a:pt x="4333299" y="957076"/>
                  <a:pt x="4333299" y="893740"/>
                </a:cubicBezTo>
                <a:lnTo>
                  <a:pt x="4251019" y="893740"/>
                </a:lnTo>
                <a:cubicBezTo>
                  <a:pt x="4251019" y="921601"/>
                  <a:pt x="4236438" y="945978"/>
                  <a:pt x="4214585" y="960023"/>
                </a:cubicBezTo>
                <a:lnTo>
                  <a:pt x="4207161" y="939664"/>
                </a:lnTo>
                <a:cubicBezTo>
                  <a:pt x="4201306" y="923438"/>
                  <a:pt x="4185768" y="912607"/>
                  <a:pt x="4168470" y="912607"/>
                </a:cubicBezTo>
                <a:cubicBezTo>
                  <a:pt x="4151249" y="912607"/>
                  <a:pt x="4135711" y="923399"/>
                  <a:pt x="4129779" y="939664"/>
                </a:cubicBezTo>
                <a:lnTo>
                  <a:pt x="4123924" y="955890"/>
                </a:lnTo>
                <a:cubicBezTo>
                  <a:pt x="4105287" y="941461"/>
                  <a:pt x="4093040" y="919074"/>
                  <a:pt x="4093040" y="893662"/>
                </a:cubicBezTo>
                <a:cubicBezTo>
                  <a:pt x="4093040" y="870930"/>
                  <a:pt x="4074594" y="852522"/>
                  <a:pt x="4051900" y="852522"/>
                </a:cubicBezTo>
                <a:lnTo>
                  <a:pt x="2734086" y="852560"/>
                </a:lnTo>
                <a:lnTo>
                  <a:pt x="2734086" y="742117"/>
                </a:lnTo>
                <a:cubicBezTo>
                  <a:pt x="2734086" y="719385"/>
                  <a:pt x="2715640" y="700977"/>
                  <a:pt x="2692946" y="700977"/>
                </a:cubicBezTo>
                <a:lnTo>
                  <a:pt x="2600409" y="700977"/>
                </a:lnTo>
                <a:lnTo>
                  <a:pt x="2729379" y="531673"/>
                </a:lnTo>
                <a:cubicBezTo>
                  <a:pt x="2737990" y="520306"/>
                  <a:pt x="2740133" y="505228"/>
                  <a:pt x="2735043" y="491833"/>
                </a:cubicBezTo>
                <a:lnTo>
                  <a:pt x="2555745" y="31142"/>
                </a:lnTo>
                <a:cubicBezTo>
                  <a:pt x="2543384" y="-584"/>
                  <a:pt x="2491337" y="-584"/>
                  <a:pt x="2479052" y="31142"/>
                </a:cubicBezTo>
                <a:lnTo>
                  <a:pt x="2299794" y="491833"/>
                </a:lnTo>
                <a:cubicBezTo>
                  <a:pt x="2294589" y="505152"/>
                  <a:pt x="2296732" y="520268"/>
                  <a:pt x="2305458" y="531673"/>
                </a:cubicBezTo>
                <a:lnTo>
                  <a:pt x="2434388" y="700977"/>
                </a:lnTo>
                <a:lnTo>
                  <a:pt x="2341775" y="700977"/>
                </a:lnTo>
                <a:cubicBezTo>
                  <a:pt x="2319043" y="700977"/>
                  <a:pt x="2300635" y="719423"/>
                  <a:pt x="2300635" y="742117"/>
                </a:cubicBezTo>
                <a:lnTo>
                  <a:pt x="2300635" y="852560"/>
                </a:lnTo>
                <a:lnTo>
                  <a:pt x="982821" y="852560"/>
                </a:lnTo>
                <a:cubicBezTo>
                  <a:pt x="960089" y="852560"/>
                  <a:pt x="941681" y="871006"/>
                  <a:pt x="941681" y="893701"/>
                </a:cubicBezTo>
                <a:cubicBezTo>
                  <a:pt x="941681" y="920681"/>
                  <a:pt x="928057" y="944447"/>
                  <a:pt x="907391" y="958721"/>
                </a:cubicBezTo>
                <a:lnTo>
                  <a:pt x="900426" y="939701"/>
                </a:lnTo>
                <a:cubicBezTo>
                  <a:pt x="894494" y="923475"/>
                  <a:pt x="879033" y="912644"/>
                  <a:pt x="861735" y="912644"/>
                </a:cubicBezTo>
                <a:cubicBezTo>
                  <a:pt x="844437" y="912644"/>
                  <a:pt x="828975" y="923437"/>
                  <a:pt x="823044" y="939701"/>
                </a:cubicBezTo>
                <a:lnTo>
                  <a:pt x="816576" y="957497"/>
                </a:lnTo>
                <a:cubicBezTo>
                  <a:pt x="796753" y="943107"/>
                  <a:pt x="783778" y="919954"/>
                  <a:pt x="783778" y="893701"/>
                </a:cubicBezTo>
                <a:lnTo>
                  <a:pt x="701498" y="893701"/>
                </a:lnTo>
                <a:cubicBezTo>
                  <a:pt x="701498" y="955545"/>
                  <a:pt x="736898" y="1008739"/>
                  <a:pt x="788065" y="1035798"/>
                </a:cubicBezTo>
                <a:lnTo>
                  <a:pt x="183395" y="2693867"/>
                </a:lnTo>
                <a:lnTo>
                  <a:pt x="48488" y="2693867"/>
                </a:lnTo>
                <a:cubicBezTo>
                  <a:pt x="25756" y="2693867"/>
                  <a:pt x="7348" y="2712313"/>
                  <a:pt x="7348" y="2735007"/>
                </a:cubicBezTo>
                <a:cubicBezTo>
                  <a:pt x="7348" y="2984570"/>
                  <a:pt x="383656" y="3180052"/>
                  <a:pt x="864059" y="3180052"/>
                </a:cubicBezTo>
                <a:cubicBezTo>
                  <a:pt x="1344384" y="3180052"/>
                  <a:pt x="1720662" y="2984570"/>
                  <a:pt x="1720662" y="2735007"/>
                </a:cubicBezTo>
                <a:cubicBezTo>
                  <a:pt x="1720662" y="2712275"/>
                  <a:pt x="1702217" y="2693867"/>
                  <a:pt x="1679522" y="2693867"/>
                </a:cubicBezTo>
                <a:lnTo>
                  <a:pt x="1540256" y="2693867"/>
                </a:lnTo>
                <a:lnTo>
                  <a:pt x="935929" y="1036974"/>
                </a:lnTo>
                <a:cubicBezTo>
                  <a:pt x="976189" y="1016308"/>
                  <a:pt x="1006882" y="979492"/>
                  <a:pt x="1018669" y="934829"/>
                </a:cubicBezTo>
                <a:lnTo>
                  <a:pt x="2300625" y="934829"/>
                </a:lnTo>
                <a:lnTo>
                  <a:pt x="2300625" y="1045272"/>
                </a:lnTo>
                <a:cubicBezTo>
                  <a:pt x="2300625" y="1068004"/>
                  <a:pt x="2319071" y="1086412"/>
                  <a:pt x="2341765" y="1086412"/>
                </a:cubicBezTo>
                <a:lnTo>
                  <a:pt x="2371731" y="1086412"/>
                </a:lnTo>
                <a:lnTo>
                  <a:pt x="2371731" y="3776904"/>
                </a:lnTo>
                <a:lnTo>
                  <a:pt x="2319492" y="3776904"/>
                </a:lnTo>
                <a:cubicBezTo>
                  <a:pt x="2296760" y="3776904"/>
                  <a:pt x="2278352" y="3795388"/>
                  <a:pt x="2278352" y="3818044"/>
                </a:cubicBezTo>
                <a:lnTo>
                  <a:pt x="2278352" y="3958653"/>
                </a:lnTo>
                <a:lnTo>
                  <a:pt x="1977472" y="3958653"/>
                </a:lnTo>
                <a:cubicBezTo>
                  <a:pt x="1789720" y="3958653"/>
                  <a:pt x="1636443" y="4109244"/>
                  <a:pt x="1632201" y="4296007"/>
                </a:cubicBezTo>
                <a:lnTo>
                  <a:pt x="1439129" y="4296007"/>
                </a:lnTo>
                <a:cubicBezTo>
                  <a:pt x="1416397" y="4296007"/>
                  <a:pt x="1397989" y="4314454"/>
                  <a:pt x="1397989" y="4337148"/>
                </a:cubicBezTo>
                <a:lnTo>
                  <a:pt x="1397989" y="4573504"/>
                </a:lnTo>
                <a:cubicBezTo>
                  <a:pt x="1397989" y="4596159"/>
                  <a:pt x="1416435" y="4614644"/>
                  <a:pt x="1439129" y="4614644"/>
                </a:cubicBezTo>
                <a:lnTo>
                  <a:pt x="3595480" y="4614644"/>
                </a:lnTo>
                <a:cubicBezTo>
                  <a:pt x="3618212" y="4614644"/>
                  <a:pt x="3636620" y="4596159"/>
                  <a:pt x="3636620" y="4573504"/>
                </a:cubicBezTo>
                <a:lnTo>
                  <a:pt x="3636620" y="4337148"/>
                </a:lnTo>
                <a:cubicBezTo>
                  <a:pt x="3636620" y="4314415"/>
                  <a:pt x="3618174" y="4296007"/>
                  <a:pt x="3595480" y="4296007"/>
                </a:cubicBezTo>
                <a:lnTo>
                  <a:pt x="3402290" y="4296007"/>
                </a:lnTo>
                <a:cubicBezTo>
                  <a:pt x="3398081" y="4109254"/>
                  <a:pt x="3244850" y="3958653"/>
                  <a:pt x="3057098" y="3958653"/>
                </a:cubicBezTo>
                <a:lnTo>
                  <a:pt x="2756218" y="3958653"/>
                </a:lnTo>
                <a:lnTo>
                  <a:pt x="2756256" y="3818044"/>
                </a:lnTo>
                <a:cubicBezTo>
                  <a:pt x="2756256" y="3795388"/>
                  <a:pt x="2737810" y="3776904"/>
                  <a:pt x="2715116" y="3776904"/>
                </a:cubicBezTo>
                <a:lnTo>
                  <a:pt x="2662954" y="3776904"/>
                </a:lnTo>
                <a:lnTo>
                  <a:pt x="2662954" y="1086412"/>
                </a:lnTo>
                <a:lnTo>
                  <a:pt x="2692919" y="1086412"/>
                </a:lnTo>
                <a:cubicBezTo>
                  <a:pt x="2715652" y="1086412"/>
                  <a:pt x="2734060" y="1067966"/>
                  <a:pt x="2734060" y="1045272"/>
                </a:cubicBezTo>
                <a:lnTo>
                  <a:pt x="2734060" y="934829"/>
                </a:lnTo>
                <a:lnTo>
                  <a:pt x="4016016" y="934829"/>
                </a:lnTo>
                <a:cubicBezTo>
                  <a:pt x="4027497" y="978113"/>
                  <a:pt x="4056505" y="1014278"/>
                  <a:pt x="4094929" y="1035289"/>
                </a:cubicBezTo>
                <a:lnTo>
                  <a:pt x="3490112" y="2693847"/>
                </a:lnTo>
                <a:lnTo>
                  <a:pt x="3355205" y="2693847"/>
                </a:lnTo>
                <a:cubicBezTo>
                  <a:pt x="3332473" y="2693847"/>
                  <a:pt x="3314065" y="2712293"/>
                  <a:pt x="3314065" y="2734987"/>
                </a:cubicBezTo>
                <a:cubicBezTo>
                  <a:pt x="3314065" y="2984550"/>
                  <a:pt x="3690373" y="3179993"/>
                  <a:pt x="4170776" y="3179993"/>
                </a:cubicBezTo>
                <a:cubicBezTo>
                  <a:pt x="4651179" y="3179993"/>
                  <a:pt x="5027301" y="2984511"/>
                  <a:pt x="5027301" y="2734987"/>
                </a:cubicBezTo>
                <a:cubicBezTo>
                  <a:pt x="5027378" y="2712217"/>
                  <a:pt x="5008970" y="2693847"/>
                  <a:pt x="4986238" y="2693847"/>
                </a:cubicBezTo>
                <a:close/>
                <a:moveTo>
                  <a:pt x="2517342" y="159512"/>
                </a:moveTo>
                <a:lnTo>
                  <a:pt x="2649907" y="500159"/>
                </a:lnTo>
                <a:lnTo>
                  <a:pt x="2517342" y="674215"/>
                </a:lnTo>
                <a:lnTo>
                  <a:pt x="2384855" y="500198"/>
                </a:lnTo>
                <a:close/>
                <a:moveTo>
                  <a:pt x="820575" y="1186743"/>
                </a:moveTo>
                <a:lnTo>
                  <a:pt x="820575" y="2693935"/>
                </a:lnTo>
                <a:lnTo>
                  <a:pt x="271053" y="2693935"/>
                </a:lnTo>
                <a:close/>
                <a:moveTo>
                  <a:pt x="864011" y="3097773"/>
                </a:moveTo>
                <a:cubicBezTo>
                  <a:pt x="473889" y="3097773"/>
                  <a:pt x="140022" y="2954373"/>
                  <a:pt x="94740" y="2776153"/>
                </a:cubicBezTo>
                <a:lnTo>
                  <a:pt x="1633087" y="2776153"/>
                </a:lnTo>
                <a:cubicBezTo>
                  <a:pt x="1587966" y="2954373"/>
                  <a:pt x="1254173" y="3097773"/>
                  <a:pt x="864011" y="3097773"/>
                </a:cubicBezTo>
                <a:close/>
                <a:moveTo>
                  <a:pt x="902855" y="2693867"/>
                </a:moveTo>
                <a:lnTo>
                  <a:pt x="902855" y="1186674"/>
                </a:lnTo>
                <a:lnTo>
                  <a:pt x="1452524" y="2693867"/>
                </a:lnTo>
                <a:close/>
                <a:moveTo>
                  <a:pt x="3554354" y="4378388"/>
                </a:moveTo>
                <a:lnTo>
                  <a:pt x="3554354" y="4532467"/>
                </a:lnTo>
                <a:lnTo>
                  <a:pt x="1480299" y="4532429"/>
                </a:lnTo>
                <a:lnTo>
                  <a:pt x="1480299" y="4378349"/>
                </a:lnTo>
                <a:lnTo>
                  <a:pt x="3361448" y="4378349"/>
                </a:lnTo>
                <a:close/>
                <a:moveTo>
                  <a:pt x="2673953" y="3859256"/>
                </a:moveTo>
                <a:lnTo>
                  <a:pt x="2673953" y="3999865"/>
                </a:lnTo>
                <a:cubicBezTo>
                  <a:pt x="2673953" y="4022521"/>
                  <a:pt x="2692399" y="4041005"/>
                  <a:pt x="2715093" y="4041005"/>
                </a:cubicBezTo>
                <a:lnTo>
                  <a:pt x="3057112" y="4041005"/>
                </a:lnTo>
                <a:cubicBezTo>
                  <a:pt x="3199435" y="4041005"/>
                  <a:pt x="3314973" y="4154740"/>
                  <a:pt x="3319303" y="4296074"/>
                </a:cubicBezTo>
                <a:lnTo>
                  <a:pt x="1715216" y="4296112"/>
                </a:lnTo>
                <a:cubicBezTo>
                  <a:pt x="1719541" y="4154779"/>
                  <a:pt x="1835153" y="4041044"/>
                  <a:pt x="1977486" y="4041044"/>
                </a:cubicBezTo>
                <a:lnTo>
                  <a:pt x="2319465" y="4041044"/>
                </a:lnTo>
                <a:cubicBezTo>
                  <a:pt x="2342197" y="4041044"/>
                  <a:pt x="2360605" y="4022559"/>
                  <a:pt x="2360605" y="3999904"/>
                </a:cubicBezTo>
                <a:lnTo>
                  <a:pt x="2360567" y="3859265"/>
                </a:lnTo>
                <a:lnTo>
                  <a:pt x="2412805" y="3859265"/>
                </a:lnTo>
                <a:cubicBezTo>
                  <a:pt x="2435538" y="3859265"/>
                  <a:pt x="2453946" y="3840819"/>
                  <a:pt x="2453946" y="3818125"/>
                </a:cubicBezTo>
                <a:lnTo>
                  <a:pt x="2453946" y="1045338"/>
                </a:lnTo>
                <a:cubicBezTo>
                  <a:pt x="2453946" y="1022605"/>
                  <a:pt x="2435500" y="1004198"/>
                  <a:pt x="2412805" y="1004198"/>
                </a:cubicBezTo>
                <a:lnTo>
                  <a:pt x="2382916" y="1004198"/>
                </a:lnTo>
                <a:lnTo>
                  <a:pt x="2382916" y="783380"/>
                </a:lnTo>
                <a:lnTo>
                  <a:pt x="2651760" y="783380"/>
                </a:lnTo>
                <a:lnTo>
                  <a:pt x="2651760" y="1004198"/>
                </a:lnTo>
                <a:lnTo>
                  <a:pt x="2621794" y="1004198"/>
                </a:lnTo>
                <a:cubicBezTo>
                  <a:pt x="2599062" y="1004198"/>
                  <a:pt x="2580654" y="1022644"/>
                  <a:pt x="2580654" y="1045338"/>
                </a:cubicBezTo>
                <a:lnTo>
                  <a:pt x="2580654" y="3818125"/>
                </a:lnTo>
                <a:cubicBezTo>
                  <a:pt x="2580654" y="3840858"/>
                  <a:pt x="2599100" y="3859265"/>
                  <a:pt x="2621794" y="3859265"/>
                </a:cubicBezTo>
                <a:close/>
                <a:moveTo>
                  <a:pt x="4209656" y="1186694"/>
                </a:moveTo>
                <a:lnTo>
                  <a:pt x="4759442" y="2693886"/>
                </a:lnTo>
                <a:lnTo>
                  <a:pt x="4209656" y="2693886"/>
                </a:lnTo>
                <a:close/>
                <a:moveTo>
                  <a:pt x="4127337" y="1186694"/>
                </a:moveTo>
                <a:lnTo>
                  <a:pt x="4127337" y="2693886"/>
                </a:lnTo>
                <a:lnTo>
                  <a:pt x="3577737" y="2693886"/>
                </a:lnTo>
                <a:close/>
                <a:moveTo>
                  <a:pt x="4170850" y="3097822"/>
                </a:moveTo>
                <a:cubicBezTo>
                  <a:pt x="3780728" y="3097822"/>
                  <a:pt x="3446821" y="2954422"/>
                  <a:pt x="3401578" y="2776202"/>
                </a:cubicBezTo>
                <a:lnTo>
                  <a:pt x="4939828" y="2776202"/>
                </a:lnTo>
                <a:cubicBezTo>
                  <a:pt x="4894630" y="2954422"/>
                  <a:pt x="4560835" y="3097822"/>
                  <a:pt x="4170869" y="3097822"/>
                </a:cubicBezTo>
                <a:close/>
              </a:path>
            </a:pathLst>
          </a:custGeom>
          <a:solidFill>
            <a:srgbClr val="1F4CB9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IN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0A28387-F033-9920-2E77-218B6C9B8EF7}"/>
              </a:ext>
            </a:extLst>
          </p:cNvPr>
          <p:cNvSpPr txBox="1"/>
          <p:nvPr/>
        </p:nvSpPr>
        <p:spPr>
          <a:xfrm>
            <a:off x="1353940" y="7898645"/>
            <a:ext cx="2257493" cy="14425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1900"/>
              </a:lnSpc>
            </a:pPr>
            <a:r>
              <a:rPr lang="en-IN" sz="1400" dirty="0">
                <a:latin typeface="Georgia" panose="02040502050405020303" pitchFamily="18" charset="0"/>
              </a:rPr>
              <a:t>A breakeven financial model is key for any business to see how long it takes for them to gain a solid foothold and how much money is required for the same.</a:t>
            </a:r>
            <a:endParaRPr lang="en-US" sz="1400" b="1" dirty="0">
              <a:solidFill>
                <a:srgbClr val="FF9629"/>
              </a:solidFill>
              <a:latin typeface="Georgia" panose="02040502050405020303" pitchFamily="18" charset="0"/>
            </a:endParaRP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9309AE80-8569-48CF-A9F6-8A1ED31394D5}"/>
              </a:ext>
            </a:extLst>
          </p:cNvPr>
          <p:cNvGrpSpPr/>
          <p:nvPr/>
        </p:nvGrpSpPr>
        <p:grpSpPr>
          <a:xfrm>
            <a:off x="396272" y="7959838"/>
            <a:ext cx="692998" cy="757348"/>
            <a:chOff x="914379" y="1516652"/>
            <a:chExt cx="5026718" cy="5493485"/>
          </a:xfrm>
          <a:solidFill>
            <a:srgbClr val="1F4CB9"/>
          </a:solidFill>
        </p:grpSpPr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3746CD7-CF4A-44A9-86F9-43F29D323356}"/>
                </a:ext>
              </a:extLst>
            </p:cNvPr>
            <p:cNvSpPr/>
            <p:nvPr/>
          </p:nvSpPr>
          <p:spPr>
            <a:xfrm>
              <a:off x="4699983" y="1714163"/>
              <a:ext cx="715191" cy="1293223"/>
            </a:xfrm>
            <a:custGeom>
              <a:avLst/>
              <a:gdLst>
                <a:gd name="connsiteX0" fmla="*/ 358477 w 715191"/>
                <a:gd name="connsiteY0" fmla="*/ 1291165 h 1293222"/>
                <a:gd name="connsiteX1" fmla="*/ 7348 w 715191"/>
                <a:gd name="connsiteY1" fmla="*/ 940036 h 1293222"/>
                <a:gd name="connsiteX2" fmla="*/ 73173 w 715191"/>
                <a:gd name="connsiteY2" fmla="*/ 874211 h 1293222"/>
                <a:gd name="connsiteX3" fmla="*/ 138998 w 715191"/>
                <a:gd name="connsiteY3" fmla="*/ 940036 h 1293222"/>
                <a:gd name="connsiteX4" fmla="*/ 363950 w 715191"/>
                <a:gd name="connsiteY4" fmla="*/ 1164988 h 1293222"/>
                <a:gd name="connsiteX5" fmla="*/ 588902 w 715191"/>
                <a:gd name="connsiteY5" fmla="*/ 940036 h 1293222"/>
                <a:gd name="connsiteX6" fmla="*/ 342024 w 715191"/>
                <a:gd name="connsiteY6" fmla="*/ 709607 h 1293222"/>
                <a:gd name="connsiteX7" fmla="*/ 7354 w 715191"/>
                <a:gd name="connsiteY7" fmla="*/ 358477 h 1293222"/>
                <a:gd name="connsiteX8" fmla="*/ 358483 w 715191"/>
                <a:gd name="connsiteY8" fmla="*/ 7348 h 1293222"/>
                <a:gd name="connsiteX9" fmla="*/ 709613 w 715191"/>
                <a:gd name="connsiteY9" fmla="*/ 358477 h 1293222"/>
                <a:gd name="connsiteX10" fmla="*/ 643788 w 715191"/>
                <a:gd name="connsiteY10" fmla="*/ 424303 h 1293222"/>
                <a:gd name="connsiteX11" fmla="*/ 577963 w 715191"/>
                <a:gd name="connsiteY11" fmla="*/ 358477 h 1293222"/>
                <a:gd name="connsiteX12" fmla="*/ 358487 w 715191"/>
                <a:gd name="connsiteY12" fmla="*/ 139041 h 1293222"/>
                <a:gd name="connsiteX13" fmla="*/ 133535 w 715191"/>
                <a:gd name="connsiteY13" fmla="*/ 363993 h 1293222"/>
                <a:gd name="connsiteX14" fmla="*/ 380413 w 715191"/>
                <a:gd name="connsiteY14" fmla="*/ 594422 h 1293222"/>
                <a:gd name="connsiteX15" fmla="*/ 715084 w 715191"/>
                <a:gd name="connsiteY15" fmla="*/ 945552 h 1293222"/>
                <a:gd name="connsiteX16" fmla="*/ 358487 w 715191"/>
                <a:gd name="connsiteY16" fmla="*/ 1291165 h 1293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715191" h="1293222">
                  <a:moveTo>
                    <a:pt x="358477" y="1291165"/>
                  </a:moveTo>
                  <a:cubicBezTo>
                    <a:pt x="166434" y="1291165"/>
                    <a:pt x="7348" y="1132080"/>
                    <a:pt x="7348" y="940036"/>
                  </a:cubicBezTo>
                  <a:cubicBezTo>
                    <a:pt x="7348" y="907123"/>
                    <a:pt x="34788" y="874211"/>
                    <a:pt x="73173" y="874211"/>
                  </a:cubicBezTo>
                  <a:cubicBezTo>
                    <a:pt x="106085" y="874211"/>
                    <a:pt x="138998" y="901651"/>
                    <a:pt x="138998" y="940036"/>
                  </a:cubicBezTo>
                  <a:cubicBezTo>
                    <a:pt x="138998" y="1066213"/>
                    <a:pt x="237734" y="1164988"/>
                    <a:pt x="363950" y="1164988"/>
                  </a:cubicBezTo>
                  <a:cubicBezTo>
                    <a:pt x="490128" y="1164988"/>
                    <a:pt x="588902" y="1066252"/>
                    <a:pt x="588902" y="940036"/>
                  </a:cubicBezTo>
                  <a:cubicBezTo>
                    <a:pt x="588902" y="830318"/>
                    <a:pt x="523077" y="769967"/>
                    <a:pt x="342024" y="709607"/>
                  </a:cubicBezTo>
                  <a:cubicBezTo>
                    <a:pt x="259744" y="682167"/>
                    <a:pt x="7354" y="599889"/>
                    <a:pt x="7354" y="358477"/>
                  </a:cubicBezTo>
                  <a:cubicBezTo>
                    <a:pt x="7354" y="166434"/>
                    <a:pt x="166440" y="7348"/>
                    <a:pt x="358483" y="7348"/>
                  </a:cubicBezTo>
                  <a:cubicBezTo>
                    <a:pt x="550527" y="7348"/>
                    <a:pt x="709613" y="166434"/>
                    <a:pt x="709613" y="358477"/>
                  </a:cubicBezTo>
                  <a:cubicBezTo>
                    <a:pt x="709613" y="391390"/>
                    <a:pt x="682173" y="424303"/>
                    <a:pt x="643788" y="424303"/>
                  </a:cubicBezTo>
                  <a:cubicBezTo>
                    <a:pt x="610875" y="424303"/>
                    <a:pt x="577963" y="396863"/>
                    <a:pt x="577963" y="358477"/>
                  </a:cubicBezTo>
                  <a:cubicBezTo>
                    <a:pt x="583436" y="237777"/>
                    <a:pt x="484660" y="139041"/>
                    <a:pt x="358487" y="139041"/>
                  </a:cubicBezTo>
                  <a:cubicBezTo>
                    <a:pt x="232310" y="139041"/>
                    <a:pt x="133535" y="237777"/>
                    <a:pt x="133535" y="363993"/>
                  </a:cubicBezTo>
                  <a:cubicBezTo>
                    <a:pt x="133535" y="468245"/>
                    <a:pt x="210343" y="539578"/>
                    <a:pt x="380413" y="594422"/>
                  </a:cubicBezTo>
                  <a:cubicBezTo>
                    <a:pt x="534033" y="643791"/>
                    <a:pt x="715084" y="731582"/>
                    <a:pt x="715084" y="945552"/>
                  </a:cubicBezTo>
                  <a:cubicBezTo>
                    <a:pt x="709611" y="1132080"/>
                    <a:pt x="550521" y="1291165"/>
                    <a:pt x="358487" y="129116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4025EE3F-7443-4056-A303-0B27341E9ED0}"/>
                </a:ext>
              </a:extLst>
            </p:cNvPr>
            <p:cNvSpPr/>
            <p:nvPr/>
          </p:nvSpPr>
          <p:spPr>
            <a:xfrm>
              <a:off x="4985288" y="1549604"/>
              <a:ext cx="137160" cy="303711"/>
            </a:xfrm>
            <a:custGeom>
              <a:avLst/>
              <a:gdLst>
                <a:gd name="connsiteX0" fmla="*/ 73173 w 137160"/>
                <a:gd name="connsiteY0" fmla="*/ 303600 h 303711"/>
                <a:gd name="connsiteX1" fmla="*/ 7348 w 137160"/>
                <a:gd name="connsiteY1" fmla="*/ 237775 h 303711"/>
                <a:gd name="connsiteX2" fmla="*/ 7348 w 137160"/>
                <a:gd name="connsiteY2" fmla="*/ 73173 h 303711"/>
                <a:gd name="connsiteX3" fmla="*/ 73173 w 137160"/>
                <a:gd name="connsiteY3" fmla="*/ 7348 h 303711"/>
                <a:gd name="connsiteX4" fmla="*/ 138998 w 137160"/>
                <a:gd name="connsiteY4" fmla="*/ 73173 h 303711"/>
                <a:gd name="connsiteX5" fmla="*/ 138998 w 137160"/>
                <a:gd name="connsiteY5" fmla="*/ 237775 h 303711"/>
                <a:gd name="connsiteX6" fmla="*/ 73173 w 137160"/>
                <a:gd name="connsiteY6" fmla="*/ 303600 h 303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60" h="303711">
                  <a:moveTo>
                    <a:pt x="73173" y="303600"/>
                  </a:moveTo>
                  <a:cubicBezTo>
                    <a:pt x="40260" y="303600"/>
                    <a:pt x="7348" y="276160"/>
                    <a:pt x="7348" y="237775"/>
                  </a:cubicBezTo>
                  <a:lnTo>
                    <a:pt x="7348" y="73173"/>
                  </a:lnTo>
                  <a:cubicBezTo>
                    <a:pt x="7348" y="40260"/>
                    <a:pt x="34788" y="7348"/>
                    <a:pt x="73173" y="7348"/>
                  </a:cubicBezTo>
                  <a:cubicBezTo>
                    <a:pt x="106085" y="7348"/>
                    <a:pt x="138998" y="34788"/>
                    <a:pt x="138998" y="73173"/>
                  </a:cubicBezTo>
                  <a:lnTo>
                    <a:pt x="138998" y="237775"/>
                  </a:lnTo>
                  <a:cubicBezTo>
                    <a:pt x="138998" y="276160"/>
                    <a:pt x="106085" y="303600"/>
                    <a:pt x="73173" y="303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9C45184-379A-4F72-A34F-0FCA32CFBDB6}"/>
                </a:ext>
              </a:extLst>
            </p:cNvPr>
            <p:cNvSpPr/>
            <p:nvPr/>
          </p:nvSpPr>
          <p:spPr>
            <a:xfrm>
              <a:off x="4985288" y="2860834"/>
              <a:ext cx="137160" cy="303711"/>
            </a:xfrm>
            <a:custGeom>
              <a:avLst/>
              <a:gdLst>
                <a:gd name="connsiteX0" fmla="*/ 73173 w 137160"/>
                <a:gd name="connsiteY0" fmla="*/ 303600 h 303711"/>
                <a:gd name="connsiteX1" fmla="*/ 7348 w 137160"/>
                <a:gd name="connsiteY1" fmla="*/ 237775 h 303711"/>
                <a:gd name="connsiteX2" fmla="*/ 7348 w 137160"/>
                <a:gd name="connsiteY2" fmla="*/ 73173 h 303711"/>
                <a:gd name="connsiteX3" fmla="*/ 73173 w 137160"/>
                <a:gd name="connsiteY3" fmla="*/ 7348 h 303711"/>
                <a:gd name="connsiteX4" fmla="*/ 138998 w 137160"/>
                <a:gd name="connsiteY4" fmla="*/ 73173 h 303711"/>
                <a:gd name="connsiteX5" fmla="*/ 138998 w 137160"/>
                <a:gd name="connsiteY5" fmla="*/ 237775 h 303711"/>
                <a:gd name="connsiteX6" fmla="*/ 73173 w 137160"/>
                <a:gd name="connsiteY6" fmla="*/ 303600 h 3037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60" h="303711">
                  <a:moveTo>
                    <a:pt x="73173" y="303600"/>
                  </a:moveTo>
                  <a:cubicBezTo>
                    <a:pt x="40260" y="303600"/>
                    <a:pt x="7348" y="276160"/>
                    <a:pt x="7348" y="237775"/>
                  </a:cubicBezTo>
                  <a:lnTo>
                    <a:pt x="7348" y="73173"/>
                  </a:lnTo>
                  <a:cubicBezTo>
                    <a:pt x="7348" y="40260"/>
                    <a:pt x="34788" y="7348"/>
                    <a:pt x="73173" y="7348"/>
                  </a:cubicBezTo>
                  <a:cubicBezTo>
                    <a:pt x="106085" y="7348"/>
                    <a:pt x="138998" y="34788"/>
                    <a:pt x="138998" y="73173"/>
                  </a:cubicBezTo>
                  <a:lnTo>
                    <a:pt x="138998" y="237775"/>
                  </a:lnTo>
                  <a:cubicBezTo>
                    <a:pt x="138998" y="276160"/>
                    <a:pt x="106085" y="303600"/>
                    <a:pt x="73173" y="3036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DEAABFC-5AD8-461F-B6FE-C6200DED80A1}"/>
                </a:ext>
              </a:extLst>
            </p:cNvPr>
            <p:cNvSpPr/>
            <p:nvPr/>
          </p:nvSpPr>
          <p:spPr>
            <a:xfrm>
              <a:off x="914379" y="5697320"/>
              <a:ext cx="1773283" cy="1312817"/>
            </a:xfrm>
            <a:custGeom>
              <a:avLst/>
              <a:gdLst>
                <a:gd name="connsiteX0" fmla="*/ 73173 w 1773282"/>
                <a:gd name="connsiteY0" fmla="*/ 1313080 h 1312817"/>
                <a:gd name="connsiteX1" fmla="*/ 7348 w 1773282"/>
                <a:gd name="connsiteY1" fmla="*/ 1247255 h 1312817"/>
                <a:gd name="connsiteX2" fmla="*/ 7348 w 1773282"/>
                <a:gd name="connsiteY2" fmla="*/ 314577 h 1312817"/>
                <a:gd name="connsiteX3" fmla="*/ 314576 w 1773282"/>
                <a:gd name="connsiteY3" fmla="*/ 7348 h 1312817"/>
                <a:gd name="connsiteX4" fmla="*/ 1702636 w 1773282"/>
                <a:gd name="connsiteY4" fmla="*/ 7348 h 1312817"/>
                <a:gd name="connsiteX5" fmla="*/ 1768461 w 1773282"/>
                <a:gd name="connsiteY5" fmla="*/ 73173 h 1312817"/>
                <a:gd name="connsiteX6" fmla="*/ 1702636 w 1773282"/>
                <a:gd name="connsiteY6" fmla="*/ 138998 h 1312817"/>
                <a:gd name="connsiteX7" fmla="*/ 314576 w 1773282"/>
                <a:gd name="connsiteY7" fmla="*/ 138998 h 1312817"/>
                <a:gd name="connsiteX8" fmla="*/ 133525 w 1773282"/>
                <a:gd name="connsiteY8" fmla="*/ 320049 h 1312817"/>
                <a:gd name="connsiteX9" fmla="*/ 133525 w 1773282"/>
                <a:gd name="connsiteY9" fmla="*/ 1252727 h 1312817"/>
                <a:gd name="connsiteX10" fmla="*/ 73173 w 1773282"/>
                <a:gd name="connsiteY10" fmla="*/ 1313080 h 1312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282" h="1312817">
                  <a:moveTo>
                    <a:pt x="73173" y="1313080"/>
                  </a:moveTo>
                  <a:cubicBezTo>
                    <a:pt x="40260" y="1313080"/>
                    <a:pt x="7348" y="1285640"/>
                    <a:pt x="7348" y="1247255"/>
                  </a:cubicBezTo>
                  <a:lnTo>
                    <a:pt x="7348" y="314577"/>
                  </a:lnTo>
                  <a:cubicBezTo>
                    <a:pt x="7348" y="144508"/>
                    <a:pt x="144508" y="7348"/>
                    <a:pt x="314576" y="7348"/>
                  </a:cubicBezTo>
                  <a:lnTo>
                    <a:pt x="1702636" y="7348"/>
                  </a:lnTo>
                  <a:cubicBezTo>
                    <a:pt x="1735548" y="7348"/>
                    <a:pt x="1768461" y="34788"/>
                    <a:pt x="1768461" y="73173"/>
                  </a:cubicBezTo>
                  <a:cubicBezTo>
                    <a:pt x="1768461" y="106085"/>
                    <a:pt x="1741021" y="138998"/>
                    <a:pt x="1702636" y="138998"/>
                  </a:cubicBezTo>
                  <a:lnTo>
                    <a:pt x="314576" y="138998"/>
                  </a:lnTo>
                  <a:cubicBezTo>
                    <a:pt x="215841" y="138998"/>
                    <a:pt x="133525" y="221278"/>
                    <a:pt x="133525" y="320049"/>
                  </a:cubicBezTo>
                  <a:lnTo>
                    <a:pt x="133525" y="1252727"/>
                  </a:lnTo>
                  <a:cubicBezTo>
                    <a:pt x="133525" y="1285640"/>
                    <a:pt x="106085" y="1313080"/>
                    <a:pt x="73173" y="1313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94C21BB-73E7-4EB5-B1AA-6F6EB3A402EA}"/>
                </a:ext>
              </a:extLst>
            </p:cNvPr>
            <p:cNvSpPr/>
            <p:nvPr/>
          </p:nvSpPr>
          <p:spPr>
            <a:xfrm>
              <a:off x="2543840" y="4517744"/>
              <a:ext cx="1773283" cy="1312817"/>
            </a:xfrm>
            <a:custGeom>
              <a:avLst/>
              <a:gdLst>
                <a:gd name="connsiteX0" fmla="*/ 73173 w 1773282"/>
                <a:gd name="connsiteY0" fmla="*/ 1313080 h 1312817"/>
                <a:gd name="connsiteX1" fmla="*/ 7348 w 1773282"/>
                <a:gd name="connsiteY1" fmla="*/ 1247255 h 1312817"/>
                <a:gd name="connsiteX2" fmla="*/ 7348 w 1773282"/>
                <a:gd name="connsiteY2" fmla="*/ 314576 h 1312817"/>
                <a:gd name="connsiteX3" fmla="*/ 314576 w 1773282"/>
                <a:gd name="connsiteY3" fmla="*/ 7348 h 1312817"/>
                <a:gd name="connsiteX4" fmla="*/ 1702635 w 1773282"/>
                <a:gd name="connsiteY4" fmla="*/ 7348 h 1312817"/>
                <a:gd name="connsiteX5" fmla="*/ 1768461 w 1773282"/>
                <a:gd name="connsiteY5" fmla="*/ 73173 h 1312817"/>
                <a:gd name="connsiteX6" fmla="*/ 1702635 w 1773282"/>
                <a:gd name="connsiteY6" fmla="*/ 138998 h 1312817"/>
                <a:gd name="connsiteX7" fmla="*/ 314576 w 1773282"/>
                <a:gd name="connsiteY7" fmla="*/ 138998 h 1312817"/>
                <a:gd name="connsiteX8" fmla="*/ 133525 w 1773282"/>
                <a:gd name="connsiteY8" fmla="*/ 320049 h 1312817"/>
                <a:gd name="connsiteX9" fmla="*/ 133525 w 1773282"/>
                <a:gd name="connsiteY9" fmla="*/ 1252727 h 1312817"/>
                <a:gd name="connsiteX10" fmla="*/ 73173 w 1773282"/>
                <a:gd name="connsiteY10" fmla="*/ 1313080 h 1312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282" h="1312817">
                  <a:moveTo>
                    <a:pt x="73173" y="1313080"/>
                  </a:moveTo>
                  <a:cubicBezTo>
                    <a:pt x="40260" y="1313080"/>
                    <a:pt x="7348" y="1285640"/>
                    <a:pt x="7348" y="1247255"/>
                  </a:cubicBezTo>
                  <a:lnTo>
                    <a:pt x="7348" y="314576"/>
                  </a:lnTo>
                  <a:cubicBezTo>
                    <a:pt x="7348" y="144508"/>
                    <a:pt x="144508" y="7348"/>
                    <a:pt x="314576" y="7348"/>
                  </a:cubicBezTo>
                  <a:lnTo>
                    <a:pt x="1702635" y="7348"/>
                  </a:lnTo>
                  <a:cubicBezTo>
                    <a:pt x="1735548" y="7348"/>
                    <a:pt x="1768461" y="34788"/>
                    <a:pt x="1768461" y="73173"/>
                  </a:cubicBezTo>
                  <a:cubicBezTo>
                    <a:pt x="1768461" y="111596"/>
                    <a:pt x="1741021" y="138998"/>
                    <a:pt x="1702635" y="138998"/>
                  </a:cubicBezTo>
                  <a:lnTo>
                    <a:pt x="314576" y="138998"/>
                  </a:lnTo>
                  <a:cubicBezTo>
                    <a:pt x="215841" y="138998"/>
                    <a:pt x="133525" y="221278"/>
                    <a:pt x="133525" y="320049"/>
                  </a:cubicBezTo>
                  <a:lnTo>
                    <a:pt x="133525" y="1252727"/>
                  </a:lnTo>
                  <a:cubicBezTo>
                    <a:pt x="133525" y="1285640"/>
                    <a:pt x="106085" y="1313080"/>
                    <a:pt x="73173" y="1313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9198FA0B-D11A-4189-B63A-0E1763C3963C}"/>
                </a:ext>
              </a:extLst>
            </p:cNvPr>
            <p:cNvSpPr/>
            <p:nvPr/>
          </p:nvSpPr>
          <p:spPr>
            <a:xfrm>
              <a:off x="4167814" y="3343655"/>
              <a:ext cx="1773283" cy="1312817"/>
            </a:xfrm>
            <a:custGeom>
              <a:avLst/>
              <a:gdLst>
                <a:gd name="connsiteX0" fmla="*/ 73173 w 1773282"/>
                <a:gd name="connsiteY0" fmla="*/ 1313080 h 1312817"/>
                <a:gd name="connsiteX1" fmla="*/ 7348 w 1773282"/>
                <a:gd name="connsiteY1" fmla="*/ 1247255 h 1312817"/>
                <a:gd name="connsiteX2" fmla="*/ 7348 w 1773282"/>
                <a:gd name="connsiteY2" fmla="*/ 314576 h 1312817"/>
                <a:gd name="connsiteX3" fmla="*/ 314577 w 1773282"/>
                <a:gd name="connsiteY3" fmla="*/ 7348 h 1312817"/>
                <a:gd name="connsiteX4" fmla="*/ 1702636 w 1773282"/>
                <a:gd name="connsiteY4" fmla="*/ 7348 h 1312817"/>
                <a:gd name="connsiteX5" fmla="*/ 1768461 w 1773282"/>
                <a:gd name="connsiteY5" fmla="*/ 73173 h 1312817"/>
                <a:gd name="connsiteX6" fmla="*/ 1702636 w 1773282"/>
                <a:gd name="connsiteY6" fmla="*/ 138998 h 1312817"/>
                <a:gd name="connsiteX7" fmla="*/ 320063 w 1773282"/>
                <a:gd name="connsiteY7" fmla="*/ 138998 h 1312817"/>
                <a:gd name="connsiteX8" fmla="*/ 139012 w 1773282"/>
                <a:gd name="connsiteY8" fmla="*/ 320049 h 1312817"/>
                <a:gd name="connsiteX9" fmla="*/ 139012 w 1773282"/>
                <a:gd name="connsiteY9" fmla="*/ 1252727 h 1312817"/>
                <a:gd name="connsiteX10" fmla="*/ 73187 w 1773282"/>
                <a:gd name="connsiteY10" fmla="*/ 1313080 h 13128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73282" h="1312817">
                  <a:moveTo>
                    <a:pt x="73173" y="1313080"/>
                  </a:moveTo>
                  <a:cubicBezTo>
                    <a:pt x="40260" y="1313080"/>
                    <a:pt x="7348" y="1285640"/>
                    <a:pt x="7348" y="1247255"/>
                  </a:cubicBezTo>
                  <a:lnTo>
                    <a:pt x="7348" y="314576"/>
                  </a:lnTo>
                  <a:cubicBezTo>
                    <a:pt x="7348" y="144508"/>
                    <a:pt x="144508" y="7348"/>
                    <a:pt x="314577" y="7348"/>
                  </a:cubicBezTo>
                  <a:lnTo>
                    <a:pt x="1702636" y="7348"/>
                  </a:lnTo>
                  <a:cubicBezTo>
                    <a:pt x="1735548" y="7348"/>
                    <a:pt x="1768461" y="34788"/>
                    <a:pt x="1768461" y="73173"/>
                  </a:cubicBezTo>
                  <a:cubicBezTo>
                    <a:pt x="1768461" y="111596"/>
                    <a:pt x="1741021" y="138998"/>
                    <a:pt x="1702636" y="138998"/>
                  </a:cubicBezTo>
                  <a:lnTo>
                    <a:pt x="320063" y="138998"/>
                  </a:lnTo>
                  <a:cubicBezTo>
                    <a:pt x="221327" y="138998"/>
                    <a:pt x="139012" y="221278"/>
                    <a:pt x="139012" y="320049"/>
                  </a:cubicBezTo>
                  <a:lnTo>
                    <a:pt x="139012" y="1252727"/>
                  </a:lnTo>
                  <a:cubicBezTo>
                    <a:pt x="139050" y="1285640"/>
                    <a:pt x="111610" y="1313080"/>
                    <a:pt x="73187" y="13130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6FA0913-EE9E-4452-BAF2-56BD12C1EA73}"/>
                </a:ext>
              </a:extLst>
            </p:cNvPr>
            <p:cNvSpPr/>
            <p:nvPr/>
          </p:nvSpPr>
          <p:spPr>
            <a:xfrm>
              <a:off x="1243532" y="1516652"/>
              <a:ext cx="911134" cy="911134"/>
            </a:xfrm>
            <a:custGeom>
              <a:avLst/>
              <a:gdLst>
                <a:gd name="connsiteX0" fmla="*/ 457252 w 911134"/>
                <a:gd name="connsiteY0" fmla="*/ 907117 h 911134"/>
                <a:gd name="connsiteX1" fmla="*/ 7348 w 911134"/>
                <a:gd name="connsiteY1" fmla="*/ 457213 h 911134"/>
                <a:gd name="connsiteX2" fmla="*/ 457252 w 911134"/>
                <a:gd name="connsiteY2" fmla="*/ 7348 h 911134"/>
                <a:gd name="connsiteX3" fmla="*/ 907157 w 911134"/>
                <a:gd name="connsiteY3" fmla="*/ 457252 h 911134"/>
                <a:gd name="connsiteX4" fmla="*/ 457252 w 911134"/>
                <a:gd name="connsiteY4" fmla="*/ 907117 h 911134"/>
                <a:gd name="connsiteX5" fmla="*/ 457252 w 911134"/>
                <a:gd name="connsiteY5" fmla="*/ 133525 h 911134"/>
                <a:gd name="connsiteX6" fmla="*/ 133564 w 911134"/>
                <a:gd name="connsiteY6" fmla="*/ 457213 h 911134"/>
                <a:gd name="connsiteX7" fmla="*/ 457252 w 911134"/>
                <a:gd name="connsiteY7" fmla="*/ 780901 h 911134"/>
                <a:gd name="connsiteX8" fmla="*/ 780940 w 911134"/>
                <a:gd name="connsiteY8" fmla="*/ 457213 h 911134"/>
                <a:gd name="connsiteX9" fmla="*/ 457252 w 911134"/>
                <a:gd name="connsiteY9" fmla="*/ 133525 h 9111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11134" h="911134">
                  <a:moveTo>
                    <a:pt x="457252" y="907117"/>
                  </a:moveTo>
                  <a:cubicBezTo>
                    <a:pt x="210374" y="907117"/>
                    <a:pt x="7348" y="704131"/>
                    <a:pt x="7348" y="457213"/>
                  </a:cubicBezTo>
                  <a:cubicBezTo>
                    <a:pt x="7348" y="210335"/>
                    <a:pt x="210335" y="7348"/>
                    <a:pt x="457252" y="7348"/>
                  </a:cubicBezTo>
                  <a:cubicBezTo>
                    <a:pt x="704130" y="7348"/>
                    <a:pt x="907157" y="210335"/>
                    <a:pt x="907157" y="457252"/>
                  </a:cubicBezTo>
                  <a:cubicBezTo>
                    <a:pt x="907118" y="704131"/>
                    <a:pt x="704130" y="907117"/>
                    <a:pt x="457252" y="907117"/>
                  </a:cubicBezTo>
                  <a:close/>
                  <a:moveTo>
                    <a:pt x="457252" y="133525"/>
                  </a:moveTo>
                  <a:cubicBezTo>
                    <a:pt x="281668" y="133525"/>
                    <a:pt x="133564" y="276162"/>
                    <a:pt x="133564" y="457213"/>
                  </a:cubicBezTo>
                  <a:cubicBezTo>
                    <a:pt x="133564" y="632797"/>
                    <a:pt x="276201" y="780901"/>
                    <a:pt x="457252" y="780901"/>
                  </a:cubicBezTo>
                  <a:cubicBezTo>
                    <a:pt x="632837" y="780901"/>
                    <a:pt x="780940" y="638264"/>
                    <a:pt x="780940" y="457213"/>
                  </a:cubicBezTo>
                  <a:cubicBezTo>
                    <a:pt x="775429" y="276191"/>
                    <a:pt x="632798" y="133525"/>
                    <a:pt x="457252" y="13352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0AA26C37-FFE1-4F1A-869B-C2CCA5AD18B3}"/>
                </a:ext>
              </a:extLst>
            </p:cNvPr>
            <p:cNvSpPr/>
            <p:nvPr/>
          </p:nvSpPr>
          <p:spPr>
            <a:xfrm>
              <a:off x="1901893" y="4012988"/>
              <a:ext cx="137160" cy="1479369"/>
            </a:xfrm>
            <a:custGeom>
              <a:avLst/>
              <a:gdLst>
                <a:gd name="connsiteX0" fmla="*/ 73211 w 137160"/>
                <a:gd name="connsiteY0" fmla="*/ 1477680 h 1479368"/>
                <a:gd name="connsiteX1" fmla="*/ 7386 w 137160"/>
                <a:gd name="connsiteY1" fmla="*/ 1411855 h 1479368"/>
                <a:gd name="connsiteX2" fmla="*/ 7348 w 137160"/>
                <a:gd name="connsiteY2" fmla="*/ 73173 h 1479368"/>
                <a:gd name="connsiteX3" fmla="*/ 73173 w 137160"/>
                <a:gd name="connsiteY3" fmla="*/ 7348 h 1479368"/>
                <a:gd name="connsiteX4" fmla="*/ 138998 w 137160"/>
                <a:gd name="connsiteY4" fmla="*/ 73173 h 1479368"/>
                <a:gd name="connsiteX5" fmla="*/ 138998 w 137160"/>
                <a:gd name="connsiteY5" fmla="*/ 1411855 h 1479368"/>
                <a:gd name="connsiteX6" fmla="*/ 73212 w 137160"/>
                <a:gd name="connsiteY6" fmla="*/ 1477680 h 14793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60" h="1479368">
                  <a:moveTo>
                    <a:pt x="73211" y="1477680"/>
                  </a:moveTo>
                  <a:cubicBezTo>
                    <a:pt x="40299" y="1477680"/>
                    <a:pt x="7386" y="1450240"/>
                    <a:pt x="7386" y="1411855"/>
                  </a:cubicBezTo>
                  <a:lnTo>
                    <a:pt x="7348" y="73173"/>
                  </a:lnTo>
                  <a:cubicBezTo>
                    <a:pt x="7348" y="40260"/>
                    <a:pt x="34788" y="7348"/>
                    <a:pt x="73173" y="7348"/>
                  </a:cubicBezTo>
                  <a:cubicBezTo>
                    <a:pt x="106085" y="7348"/>
                    <a:pt x="138998" y="34788"/>
                    <a:pt x="138998" y="73173"/>
                  </a:cubicBezTo>
                  <a:lnTo>
                    <a:pt x="138998" y="1411855"/>
                  </a:lnTo>
                  <a:cubicBezTo>
                    <a:pt x="139036" y="1450240"/>
                    <a:pt x="106124" y="1477680"/>
                    <a:pt x="73212" y="147768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E3B7E441-503A-44C6-8527-8765466FBF94}"/>
                </a:ext>
              </a:extLst>
            </p:cNvPr>
            <p:cNvSpPr/>
            <p:nvPr/>
          </p:nvSpPr>
          <p:spPr>
            <a:xfrm>
              <a:off x="1347805" y="4012988"/>
              <a:ext cx="137160" cy="1459774"/>
            </a:xfrm>
            <a:custGeom>
              <a:avLst/>
              <a:gdLst>
                <a:gd name="connsiteX0" fmla="*/ 73173 w 137160"/>
                <a:gd name="connsiteY0" fmla="*/ 1455734 h 1459774"/>
                <a:gd name="connsiteX1" fmla="*/ 7348 w 137160"/>
                <a:gd name="connsiteY1" fmla="*/ 1389909 h 1459774"/>
                <a:gd name="connsiteX2" fmla="*/ 7348 w 137160"/>
                <a:gd name="connsiteY2" fmla="*/ 73173 h 1459774"/>
                <a:gd name="connsiteX3" fmla="*/ 73173 w 137160"/>
                <a:gd name="connsiteY3" fmla="*/ 7348 h 1459774"/>
                <a:gd name="connsiteX4" fmla="*/ 138998 w 137160"/>
                <a:gd name="connsiteY4" fmla="*/ 73173 h 1459774"/>
                <a:gd name="connsiteX5" fmla="*/ 138998 w 137160"/>
                <a:gd name="connsiteY5" fmla="*/ 1389909 h 1459774"/>
                <a:gd name="connsiteX6" fmla="*/ 73173 w 137160"/>
                <a:gd name="connsiteY6" fmla="*/ 1455734 h 14597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7160" h="1459774">
                  <a:moveTo>
                    <a:pt x="73173" y="1455734"/>
                  </a:moveTo>
                  <a:cubicBezTo>
                    <a:pt x="40260" y="1455734"/>
                    <a:pt x="7348" y="1428294"/>
                    <a:pt x="7348" y="1389909"/>
                  </a:cubicBezTo>
                  <a:lnTo>
                    <a:pt x="7348" y="73173"/>
                  </a:lnTo>
                  <a:cubicBezTo>
                    <a:pt x="7348" y="40260"/>
                    <a:pt x="34788" y="7348"/>
                    <a:pt x="73173" y="7348"/>
                  </a:cubicBezTo>
                  <a:cubicBezTo>
                    <a:pt x="106085" y="7348"/>
                    <a:pt x="138998" y="34788"/>
                    <a:pt x="138998" y="73173"/>
                  </a:cubicBezTo>
                  <a:lnTo>
                    <a:pt x="138998" y="1389909"/>
                  </a:lnTo>
                  <a:cubicBezTo>
                    <a:pt x="139036" y="1422822"/>
                    <a:pt x="111596" y="1455734"/>
                    <a:pt x="73173" y="145573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42F88EB8-6E26-448B-9BAE-6458075AC916}"/>
                </a:ext>
              </a:extLst>
            </p:cNvPr>
            <p:cNvSpPr/>
            <p:nvPr/>
          </p:nvSpPr>
          <p:spPr>
            <a:xfrm>
              <a:off x="1633076" y="2877311"/>
              <a:ext cx="1048294" cy="587829"/>
            </a:xfrm>
            <a:custGeom>
              <a:avLst/>
              <a:gdLst>
                <a:gd name="connsiteX0" fmla="*/ 978451 w 1048294"/>
                <a:gd name="connsiteY0" fmla="*/ 583389 h 587828"/>
                <a:gd name="connsiteX1" fmla="*/ 353001 w 1048294"/>
                <a:gd name="connsiteY1" fmla="*/ 583389 h 587828"/>
                <a:gd name="connsiteX2" fmla="*/ 7348 w 1048294"/>
                <a:gd name="connsiteY2" fmla="*/ 237736 h 587828"/>
                <a:gd name="connsiteX3" fmla="*/ 7386 w 1048294"/>
                <a:gd name="connsiteY3" fmla="*/ 73173 h 587828"/>
                <a:gd name="connsiteX4" fmla="*/ 73211 w 1048294"/>
                <a:gd name="connsiteY4" fmla="*/ 7348 h 587828"/>
                <a:gd name="connsiteX5" fmla="*/ 139036 w 1048294"/>
                <a:gd name="connsiteY5" fmla="*/ 73173 h 587828"/>
                <a:gd name="connsiteX6" fmla="*/ 139036 w 1048294"/>
                <a:gd name="connsiteY6" fmla="*/ 232259 h 587828"/>
                <a:gd name="connsiteX7" fmla="*/ 358473 w 1048294"/>
                <a:gd name="connsiteY7" fmla="*/ 451695 h 587828"/>
                <a:gd name="connsiteX8" fmla="*/ 983922 w 1048294"/>
                <a:gd name="connsiteY8" fmla="*/ 451695 h 587828"/>
                <a:gd name="connsiteX9" fmla="*/ 1049747 w 1048294"/>
                <a:gd name="connsiteY9" fmla="*/ 517520 h 587828"/>
                <a:gd name="connsiteX10" fmla="*/ 978451 w 1048294"/>
                <a:gd name="connsiteY10" fmla="*/ 583384 h 587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48294" h="587828">
                  <a:moveTo>
                    <a:pt x="978451" y="583389"/>
                  </a:moveTo>
                  <a:lnTo>
                    <a:pt x="353001" y="583389"/>
                  </a:lnTo>
                  <a:cubicBezTo>
                    <a:pt x="160957" y="583389"/>
                    <a:pt x="7348" y="429769"/>
                    <a:pt x="7348" y="237736"/>
                  </a:cubicBezTo>
                  <a:lnTo>
                    <a:pt x="7386" y="73173"/>
                  </a:lnTo>
                  <a:cubicBezTo>
                    <a:pt x="7386" y="40260"/>
                    <a:pt x="34826" y="7348"/>
                    <a:pt x="73211" y="7348"/>
                  </a:cubicBezTo>
                  <a:cubicBezTo>
                    <a:pt x="106124" y="7348"/>
                    <a:pt x="139036" y="34788"/>
                    <a:pt x="139036" y="73173"/>
                  </a:cubicBezTo>
                  <a:lnTo>
                    <a:pt x="139036" y="232259"/>
                  </a:lnTo>
                  <a:cubicBezTo>
                    <a:pt x="139036" y="352960"/>
                    <a:pt x="237772" y="451695"/>
                    <a:pt x="358473" y="451695"/>
                  </a:cubicBezTo>
                  <a:lnTo>
                    <a:pt x="983922" y="451695"/>
                  </a:lnTo>
                  <a:cubicBezTo>
                    <a:pt x="1016835" y="451695"/>
                    <a:pt x="1049747" y="479135"/>
                    <a:pt x="1049747" y="517520"/>
                  </a:cubicBezTo>
                  <a:cubicBezTo>
                    <a:pt x="1049786" y="555944"/>
                    <a:pt x="1011400" y="583384"/>
                    <a:pt x="978451" y="5833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87FE1DD6-8971-428A-A1D5-FD3F0BE6D61E}"/>
                </a:ext>
              </a:extLst>
            </p:cNvPr>
            <p:cNvSpPr/>
            <p:nvPr/>
          </p:nvSpPr>
          <p:spPr>
            <a:xfrm>
              <a:off x="1347809" y="5324237"/>
              <a:ext cx="930729" cy="509451"/>
            </a:xfrm>
            <a:custGeom>
              <a:avLst/>
              <a:gdLst>
                <a:gd name="connsiteX0" fmla="*/ 868697 w 930728"/>
                <a:gd name="connsiteY0" fmla="*/ 506587 h 509451"/>
                <a:gd name="connsiteX1" fmla="*/ 802872 w 930728"/>
                <a:gd name="connsiteY1" fmla="*/ 440762 h 509451"/>
                <a:gd name="connsiteX2" fmla="*/ 501110 w 930728"/>
                <a:gd name="connsiteY2" fmla="*/ 139000 h 509451"/>
                <a:gd name="connsiteX3" fmla="*/ 138998 w 930728"/>
                <a:gd name="connsiteY3" fmla="*/ 139000 h 509451"/>
                <a:gd name="connsiteX4" fmla="*/ 138998 w 930728"/>
                <a:gd name="connsiteY4" fmla="*/ 440762 h 509451"/>
                <a:gd name="connsiteX5" fmla="*/ 73173 w 930728"/>
                <a:gd name="connsiteY5" fmla="*/ 506587 h 509451"/>
                <a:gd name="connsiteX6" fmla="*/ 7348 w 930728"/>
                <a:gd name="connsiteY6" fmla="*/ 440762 h 509451"/>
                <a:gd name="connsiteX7" fmla="*/ 7348 w 930728"/>
                <a:gd name="connsiteY7" fmla="*/ 73173 h 509451"/>
                <a:gd name="connsiteX8" fmla="*/ 73173 w 930728"/>
                <a:gd name="connsiteY8" fmla="*/ 7348 h 509451"/>
                <a:gd name="connsiteX9" fmla="*/ 495636 w 930728"/>
                <a:gd name="connsiteY9" fmla="*/ 7348 h 509451"/>
                <a:gd name="connsiteX10" fmla="*/ 923575 w 930728"/>
                <a:gd name="connsiteY10" fmla="*/ 435287 h 509451"/>
                <a:gd name="connsiteX11" fmla="*/ 868695 w 930728"/>
                <a:gd name="connsiteY11" fmla="*/ 506584 h 509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30728" h="509451">
                  <a:moveTo>
                    <a:pt x="868697" y="506587"/>
                  </a:moveTo>
                  <a:cubicBezTo>
                    <a:pt x="835785" y="506587"/>
                    <a:pt x="802872" y="479147"/>
                    <a:pt x="802872" y="440762"/>
                  </a:cubicBezTo>
                  <a:cubicBezTo>
                    <a:pt x="802872" y="276160"/>
                    <a:pt x="665712" y="139000"/>
                    <a:pt x="501110" y="139000"/>
                  </a:cubicBezTo>
                  <a:lnTo>
                    <a:pt x="138998" y="139000"/>
                  </a:lnTo>
                  <a:lnTo>
                    <a:pt x="138998" y="440762"/>
                  </a:lnTo>
                  <a:cubicBezTo>
                    <a:pt x="138998" y="473674"/>
                    <a:pt x="111558" y="506587"/>
                    <a:pt x="73173" y="506587"/>
                  </a:cubicBezTo>
                  <a:cubicBezTo>
                    <a:pt x="40260" y="506587"/>
                    <a:pt x="7348" y="479147"/>
                    <a:pt x="7348" y="440762"/>
                  </a:cubicBezTo>
                  <a:lnTo>
                    <a:pt x="7348" y="73173"/>
                  </a:lnTo>
                  <a:cubicBezTo>
                    <a:pt x="7348" y="40260"/>
                    <a:pt x="34788" y="7348"/>
                    <a:pt x="73173" y="7348"/>
                  </a:cubicBezTo>
                  <a:lnTo>
                    <a:pt x="495636" y="7348"/>
                  </a:lnTo>
                  <a:cubicBezTo>
                    <a:pt x="731531" y="7348"/>
                    <a:pt x="923575" y="199391"/>
                    <a:pt x="923575" y="435287"/>
                  </a:cubicBezTo>
                  <a:cubicBezTo>
                    <a:pt x="929047" y="479145"/>
                    <a:pt x="901646" y="506584"/>
                    <a:pt x="868695" y="506584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7ED41A78-E2EB-40A0-87A3-58DBC1A25A53}"/>
                </a:ext>
              </a:extLst>
            </p:cNvPr>
            <p:cNvSpPr/>
            <p:nvPr/>
          </p:nvSpPr>
          <p:spPr>
            <a:xfrm>
              <a:off x="1177679" y="2487770"/>
              <a:ext cx="1028700" cy="1665514"/>
            </a:xfrm>
            <a:custGeom>
              <a:avLst/>
              <a:gdLst>
                <a:gd name="connsiteX0" fmla="*/ 797425 w 1028700"/>
                <a:gd name="connsiteY0" fmla="*/ 1664215 h 1665514"/>
                <a:gd name="connsiteX1" fmla="*/ 243279 w 1028700"/>
                <a:gd name="connsiteY1" fmla="*/ 1664215 h 1665514"/>
                <a:gd name="connsiteX2" fmla="*/ 188399 w 1028700"/>
                <a:gd name="connsiteY2" fmla="*/ 1631303 h 1665514"/>
                <a:gd name="connsiteX3" fmla="*/ 7348 w 1028700"/>
                <a:gd name="connsiteY3" fmla="*/ 918061 h 1665514"/>
                <a:gd name="connsiteX4" fmla="*/ 7348 w 1028700"/>
                <a:gd name="connsiteY4" fmla="*/ 517564 h 1665514"/>
                <a:gd name="connsiteX5" fmla="*/ 517563 w 1028700"/>
                <a:gd name="connsiteY5" fmla="*/ 7348 h 1665514"/>
                <a:gd name="connsiteX6" fmla="*/ 1027779 w 1028700"/>
                <a:gd name="connsiteY6" fmla="*/ 517564 h 1665514"/>
                <a:gd name="connsiteX7" fmla="*/ 1027779 w 1028700"/>
                <a:gd name="connsiteY7" fmla="*/ 660200 h 1665514"/>
                <a:gd name="connsiteX8" fmla="*/ 961954 w 1028700"/>
                <a:gd name="connsiteY8" fmla="*/ 726025 h 1665514"/>
                <a:gd name="connsiteX9" fmla="*/ 896129 w 1028700"/>
                <a:gd name="connsiteY9" fmla="*/ 660200 h 1665514"/>
                <a:gd name="connsiteX10" fmla="*/ 896129 w 1028700"/>
                <a:gd name="connsiteY10" fmla="*/ 517564 h 1665514"/>
                <a:gd name="connsiteX11" fmla="*/ 512091 w 1028700"/>
                <a:gd name="connsiteY11" fmla="*/ 133525 h 1665514"/>
                <a:gd name="connsiteX12" fmla="*/ 128053 w 1028700"/>
                <a:gd name="connsiteY12" fmla="*/ 517564 h 1665514"/>
                <a:gd name="connsiteX13" fmla="*/ 128053 w 1028700"/>
                <a:gd name="connsiteY13" fmla="*/ 918061 h 1665514"/>
                <a:gd name="connsiteX14" fmla="*/ 276195 w 1028700"/>
                <a:gd name="connsiteY14" fmla="*/ 1538034 h 1665514"/>
                <a:gd name="connsiteX15" fmla="*/ 753502 w 1028700"/>
                <a:gd name="connsiteY15" fmla="*/ 1538034 h 1665514"/>
                <a:gd name="connsiteX16" fmla="*/ 879680 w 1028700"/>
                <a:gd name="connsiteY16" fmla="*/ 1153996 h 1665514"/>
                <a:gd name="connsiteX17" fmla="*/ 951015 w 1028700"/>
                <a:gd name="connsiteY17" fmla="*/ 1104627 h 1665514"/>
                <a:gd name="connsiteX18" fmla="*/ 1000383 w 1028700"/>
                <a:gd name="connsiteY18" fmla="*/ 1175962 h 1665514"/>
                <a:gd name="connsiteX19" fmla="*/ 846764 w 1028700"/>
                <a:gd name="connsiteY19" fmla="*/ 1631333 h 1665514"/>
                <a:gd name="connsiteX20" fmla="*/ 797434 w 1028700"/>
                <a:gd name="connsiteY20" fmla="*/ 1664207 h 16655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028700" h="1665514">
                  <a:moveTo>
                    <a:pt x="797425" y="1664215"/>
                  </a:moveTo>
                  <a:lnTo>
                    <a:pt x="243279" y="1664215"/>
                  </a:lnTo>
                  <a:cubicBezTo>
                    <a:pt x="221350" y="1664215"/>
                    <a:pt x="199383" y="1653232"/>
                    <a:pt x="188399" y="1631303"/>
                  </a:cubicBezTo>
                  <a:cubicBezTo>
                    <a:pt x="73165" y="1411866"/>
                    <a:pt x="7348" y="1164939"/>
                    <a:pt x="7348" y="918061"/>
                  </a:cubicBezTo>
                  <a:lnTo>
                    <a:pt x="7348" y="517564"/>
                  </a:lnTo>
                  <a:cubicBezTo>
                    <a:pt x="7348" y="237767"/>
                    <a:pt x="237777" y="7348"/>
                    <a:pt x="517563" y="7348"/>
                  </a:cubicBezTo>
                  <a:cubicBezTo>
                    <a:pt x="797350" y="7348"/>
                    <a:pt x="1027779" y="237777"/>
                    <a:pt x="1027779" y="517564"/>
                  </a:cubicBezTo>
                  <a:lnTo>
                    <a:pt x="1027779" y="660200"/>
                  </a:lnTo>
                  <a:cubicBezTo>
                    <a:pt x="1027779" y="693113"/>
                    <a:pt x="1000339" y="726025"/>
                    <a:pt x="961954" y="726025"/>
                  </a:cubicBezTo>
                  <a:cubicBezTo>
                    <a:pt x="929042" y="726025"/>
                    <a:pt x="896129" y="698585"/>
                    <a:pt x="896129" y="660200"/>
                  </a:cubicBezTo>
                  <a:lnTo>
                    <a:pt x="896129" y="517564"/>
                  </a:lnTo>
                  <a:cubicBezTo>
                    <a:pt x="896129" y="303594"/>
                    <a:pt x="726060" y="133525"/>
                    <a:pt x="512091" y="133525"/>
                  </a:cubicBezTo>
                  <a:cubicBezTo>
                    <a:pt x="298121" y="133525"/>
                    <a:pt x="128053" y="303594"/>
                    <a:pt x="128053" y="517564"/>
                  </a:cubicBezTo>
                  <a:lnTo>
                    <a:pt x="128053" y="918061"/>
                  </a:lnTo>
                  <a:cubicBezTo>
                    <a:pt x="128053" y="1132031"/>
                    <a:pt x="177421" y="1346000"/>
                    <a:pt x="276195" y="1538034"/>
                  </a:cubicBezTo>
                  <a:lnTo>
                    <a:pt x="753502" y="1538034"/>
                  </a:lnTo>
                  <a:cubicBezTo>
                    <a:pt x="813855" y="1417333"/>
                    <a:pt x="857754" y="1285640"/>
                    <a:pt x="879680" y="1153996"/>
                  </a:cubicBezTo>
                  <a:cubicBezTo>
                    <a:pt x="885152" y="1121083"/>
                    <a:pt x="918103" y="1099116"/>
                    <a:pt x="951015" y="1104627"/>
                  </a:cubicBezTo>
                  <a:cubicBezTo>
                    <a:pt x="983927" y="1110100"/>
                    <a:pt x="1011367" y="1143050"/>
                    <a:pt x="1000383" y="1175962"/>
                  </a:cubicBezTo>
                  <a:cubicBezTo>
                    <a:pt x="972944" y="1335048"/>
                    <a:pt x="918103" y="1488706"/>
                    <a:pt x="846764" y="1631333"/>
                  </a:cubicBezTo>
                  <a:cubicBezTo>
                    <a:pt x="841292" y="1647751"/>
                    <a:pt x="819363" y="1664207"/>
                    <a:pt x="797434" y="166420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679D13CA-FE0B-4BCA-91B1-20DC782849CB}"/>
                </a:ext>
              </a:extLst>
            </p:cNvPr>
            <p:cNvSpPr/>
            <p:nvPr/>
          </p:nvSpPr>
          <p:spPr>
            <a:xfrm>
              <a:off x="1901931" y="4259829"/>
              <a:ext cx="3487783" cy="2547257"/>
            </a:xfrm>
            <a:custGeom>
              <a:avLst/>
              <a:gdLst>
                <a:gd name="connsiteX0" fmla="*/ 1565474 w 3487782"/>
                <a:gd name="connsiteY0" fmla="*/ 2547575 h 2547257"/>
                <a:gd name="connsiteX1" fmla="*/ 73173 w 3487782"/>
                <a:gd name="connsiteY1" fmla="*/ 2547575 h 2547257"/>
                <a:gd name="connsiteX2" fmla="*/ 7348 w 3487782"/>
                <a:gd name="connsiteY2" fmla="*/ 2481750 h 2547257"/>
                <a:gd name="connsiteX3" fmla="*/ 73173 w 3487782"/>
                <a:gd name="connsiteY3" fmla="*/ 2415925 h 2547257"/>
                <a:gd name="connsiteX4" fmla="*/ 1565474 w 3487782"/>
                <a:gd name="connsiteY4" fmla="*/ 2415925 h 2547257"/>
                <a:gd name="connsiteX5" fmla="*/ 3354040 w 3487782"/>
                <a:gd name="connsiteY5" fmla="*/ 627358 h 2547257"/>
                <a:gd name="connsiteX6" fmla="*/ 3354040 w 3487782"/>
                <a:gd name="connsiteY6" fmla="*/ 73173 h 2547257"/>
                <a:gd name="connsiteX7" fmla="*/ 3419865 w 3487782"/>
                <a:gd name="connsiteY7" fmla="*/ 7348 h 2547257"/>
                <a:gd name="connsiteX8" fmla="*/ 3485690 w 3487782"/>
                <a:gd name="connsiteY8" fmla="*/ 73173 h 2547257"/>
                <a:gd name="connsiteX9" fmla="*/ 3485690 w 3487782"/>
                <a:gd name="connsiteY9" fmla="*/ 638272 h 2547257"/>
                <a:gd name="connsiteX10" fmla="*/ 1565450 w 3487782"/>
                <a:gd name="connsiteY10" fmla="*/ 2547540 h 25472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487782" h="2547257">
                  <a:moveTo>
                    <a:pt x="1565474" y="2547575"/>
                  </a:moveTo>
                  <a:lnTo>
                    <a:pt x="73173" y="2547575"/>
                  </a:lnTo>
                  <a:cubicBezTo>
                    <a:pt x="40260" y="2547575"/>
                    <a:pt x="7348" y="2520135"/>
                    <a:pt x="7348" y="2481750"/>
                  </a:cubicBezTo>
                  <a:cubicBezTo>
                    <a:pt x="7348" y="2448837"/>
                    <a:pt x="34788" y="2415925"/>
                    <a:pt x="73173" y="2415925"/>
                  </a:cubicBezTo>
                  <a:lnTo>
                    <a:pt x="1565474" y="2415925"/>
                  </a:lnTo>
                  <a:cubicBezTo>
                    <a:pt x="2553026" y="2415925"/>
                    <a:pt x="3354040" y="1614891"/>
                    <a:pt x="3354040" y="627358"/>
                  </a:cubicBezTo>
                  <a:lnTo>
                    <a:pt x="3354040" y="73173"/>
                  </a:lnTo>
                  <a:cubicBezTo>
                    <a:pt x="3354040" y="40260"/>
                    <a:pt x="3381480" y="7348"/>
                    <a:pt x="3419865" y="7348"/>
                  </a:cubicBezTo>
                  <a:cubicBezTo>
                    <a:pt x="3452778" y="7348"/>
                    <a:pt x="3485690" y="34788"/>
                    <a:pt x="3485690" y="73173"/>
                  </a:cubicBezTo>
                  <a:lnTo>
                    <a:pt x="3485690" y="638272"/>
                  </a:lnTo>
                  <a:cubicBezTo>
                    <a:pt x="3474745" y="1686175"/>
                    <a:pt x="2618869" y="2547540"/>
                    <a:pt x="1565450" y="254754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357CBBE8-A481-4A66-9463-11462B01958E}"/>
                </a:ext>
              </a:extLst>
            </p:cNvPr>
            <p:cNvSpPr/>
            <p:nvPr/>
          </p:nvSpPr>
          <p:spPr>
            <a:xfrm>
              <a:off x="4838504" y="3937505"/>
              <a:ext cx="920931" cy="538843"/>
            </a:xfrm>
            <a:custGeom>
              <a:avLst/>
              <a:gdLst>
                <a:gd name="connsiteX0" fmla="*/ 71824 w 920931"/>
                <a:gd name="connsiteY0" fmla="*/ 538179 h 538842"/>
                <a:gd name="connsiteX1" fmla="*/ 27928 w 920931"/>
                <a:gd name="connsiteY1" fmla="*/ 521723 h 538842"/>
                <a:gd name="connsiteX2" fmla="*/ 27928 w 920931"/>
                <a:gd name="connsiteY2" fmla="*/ 433931 h 538842"/>
                <a:gd name="connsiteX3" fmla="*/ 433931 w 920931"/>
                <a:gd name="connsiteY3" fmla="*/ 27928 h 538842"/>
                <a:gd name="connsiteX4" fmla="*/ 521722 w 920931"/>
                <a:gd name="connsiteY4" fmla="*/ 27928 h 538842"/>
                <a:gd name="connsiteX5" fmla="*/ 900294 w 920931"/>
                <a:gd name="connsiteY5" fmla="*/ 406499 h 538842"/>
                <a:gd name="connsiteX6" fmla="*/ 900294 w 920931"/>
                <a:gd name="connsiteY6" fmla="*/ 494290 h 538842"/>
                <a:gd name="connsiteX7" fmla="*/ 812503 w 920931"/>
                <a:gd name="connsiteY7" fmla="*/ 494290 h 538842"/>
                <a:gd name="connsiteX8" fmla="*/ 477832 w 920931"/>
                <a:gd name="connsiteY8" fmla="*/ 159620 h 538842"/>
                <a:gd name="connsiteX9" fmla="*/ 115720 w 920931"/>
                <a:gd name="connsiteY9" fmla="*/ 521732 h 538842"/>
                <a:gd name="connsiteX10" fmla="*/ 71824 w 920931"/>
                <a:gd name="connsiteY10" fmla="*/ 538189 h 538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20931" h="538842">
                  <a:moveTo>
                    <a:pt x="71824" y="538179"/>
                  </a:moveTo>
                  <a:cubicBezTo>
                    <a:pt x="55367" y="538179"/>
                    <a:pt x="38911" y="532706"/>
                    <a:pt x="27928" y="521723"/>
                  </a:cubicBezTo>
                  <a:cubicBezTo>
                    <a:pt x="488" y="494283"/>
                    <a:pt x="488" y="455897"/>
                    <a:pt x="27928" y="433931"/>
                  </a:cubicBezTo>
                  <a:lnTo>
                    <a:pt x="433931" y="27928"/>
                  </a:lnTo>
                  <a:cubicBezTo>
                    <a:pt x="461371" y="488"/>
                    <a:pt x="499756" y="488"/>
                    <a:pt x="521722" y="27928"/>
                  </a:cubicBezTo>
                  <a:lnTo>
                    <a:pt x="900294" y="406499"/>
                  </a:lnTo>
                  <a:cubicBezTo>
                    <a:pt x="927733" y="433939"/>
                    <a:pt x="927733" y="472324"/>
                    <a:pt x="900294" y="494290"/>
                  </a:cubicBezTo>
                  <a:cubicBezTo>
                    <a:pt x="872854" y="521730"/>
                    <a:pt x="834468" y="521730"/>
                    <a:pt x="812503" y="494290"/>
                  </a:cubicBezTo>
                  <a:lnTo>
                    <a:pt x="477832" y="159620"/>
                  </a:lnTo>
                  <a:lnTo>
                    <a:pt x="115720" y="521732"/>
                  </a:lnTo>
                  <a:cubicBezTo>
                    <a:pt x="104736" y="532678"/>
                    <a:pt x="88280" y="538189"/>
                    <a:pt x="71824" y="53818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IN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C5AC7BBD-CC15-2896-4499-76C0A7CA88E2}"/>
              </a:ext>
            </a:extLst>
          </p:cNvPr>
          <p:cNvSpPr txBox="1"/>
          <p:nvPr/>
        </p:nvSpPr>
        <p:spPr>
          <a:xfrm>
            <a:off x="396272" y="486346"/>
            <a:ext cx="3104262" cy="13542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IN" sz="2200" dirty="0">
                <a:solidFill>
                  <a:schemeClr val="bg1"/>
                </a:solidFill>
                <a:latin typeface="Georgia" panose="02040502050405020303" pitchFamily="18" charset="0"/>
              </a:rPr>
              <a:t>Why is a </a:t>
            </a:r>
            <a:r>
              <a:rPr lang="en-IN" sz="2200" b="1" dirty="0">
                <a:solidFill>
                  <a:schemeClr val="bg1"/>
                </a:solidFill>
                <a:latin typeface="Georgia" panose="02040502050405020303" pitchFamily="18" charset="0"/>
              </a:rPr>
              <a:t>BREAKEVEN FINANCIAL TEMPLATE </a:t>
            </a:r>
            <a:r>
              <a:rPr lang="en-IN" sz="2200" dirty="0">
                <a:solidFill>
                  <a:schemeClr val="bg1"/>
                </a:solidFill>
                <a:latin typeface="Georgia" panose="02040502050405020303" pitchFamily="18" charset="0"/>
              </a:rPr>
              <a:t>important for business owners?</a:t>
            </a:r>
            <a:endParaRPr lang="en-US" sz="2200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F3CAA20-AB7E-C73C-4932-865A7A7087BD}"/>
              </a:ext>
            </a:extLst>
          </p:cNvPr>
          <p:cNvCxnSpPr>
            <a:cxnSpLocks/>
          </p:cNvCxnSpPr>
          <p:nvPr/>
        </p:nvCxnSpPr>
        <p:spPr>
          <a:xfrm>
            <a:off x="3792773" y="1766325"/>
            <a:ext cx="0" cy="8139675"/>
          </a:xfrm>
          <a:prstGeom prst="line">
            <a:avLst/>
          </a:prstGeom>
          <a:ln>
            <a:solidFill>
              <a:srgbClr val="17378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Top Corners Rounded 3">
            <a:extLst>
              <a:ext uri="{FF2B5EF4-FFF2-40B4-BE49-F238E27FC236}">
                <a16:creationId xmlns:a16="http://schemas.microsoft.com/office/drawing/2014/main" id="{2145D546-B568-ABE3-FA2D-A21BDA0A41B6}"/>
              </a:ext>
            </a:extLst>
          </p:cNvPr>
          <p:cNvSpPr/>
          <p:nvPr/>
        </p:nvSpPr>
        <p:spPr>
          <a:xfrm rot="10800000" flipV="1">
            <a:off x="-2" y="9763358"/>
            <a:ext cx="6857998" cy="142641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17378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74806445-8612-F20C-73B5-5DF15B0ADE0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67249" y="76200"/>
            <a:ext cx="2767745" cy="2260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99385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78</TotalTime>
  <Words>328</Words>
  <Application>Microsoft Office PowerPoint</Application>
  <PresentationFormat>A4 Paper (210x297 mm)</PresentationFormat>
  <Paragraphs>26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Georgia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ya Muthukrishnan</dc:creator>
  <cp:lastModifiedBy>Ramya Muthukrishnan</cp:lastModifiedBy>
  <cp:revision>12</cp:revision>
  <dcterms:created xsi:type="dcterms:W3CDTF">2023-03-04T08:05:24Z</dcterms:created>
  <dcterms:modified xsi:type="dcterms:W3CDTF">2023-03-28T15:32:45Z</dcterms:modified>
</cp:coreProperties>
</file>